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4"/>
  </p:sldMasterIdLst>
  <p:notesMasterIdLst>
    <p:notesMasterId r:id="rId6"/>
  </p:notesMasterIdLst>
  <p:handoutMasterIdLst>
    <p:handoutMasterId r:id="rId7"/>
  </p:handoutMasterIdLst>
  <p:sldIdLst>
    <p:sldId id="256" r:id="rId5"/>
  </p:sldIdLst>
  <p:sldSz cx="12192000" cy="6858000"/>
  <p:notesSz cx="7023100" cy="93091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3" orient="horz" pos="3784">
          <p15:clr>
            <a:srgbClr val="A4A3A4"/>
          </p15:clr>
        </p15:guide>
        <p15:guide id="4" orient="horz" pos="935" userDrawn="1">
          <p15:clr>
            <a:srgbClr val="A4A3A4"/>
          </p15:clr>
        </p15:guide>
        <p15:guide id="8" orient="horz" pos="3271" userDrawn="1">
          <p15:clr>
            <a:srgbClr val="A4A3A4"/>
          </p15:clr>
        </p15:guide>
        <p15:guide id="9" orient="horz" pos="1253">
          <p15:clr>
            <a:srgbClr val="A4A3A4"/>
          </p15:clr>
        </p15:guide>
        <p15:guide id="10" pos="5952">
          <p15:clr>
            <a:srgbClr val="A4A3A4"/>
          </p15:clr>
        </p15:guide>
        <p15:guide id="14" pos="72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4B00"/>
    <a:srgbClr val="000000"/>
    <a:srgbClr val="575D62"/>
    <a:srgbClr val="404040"/>
    <a:srgbClr val="EBEDF4"/>
    <a:srgbClr val="EDEFF5"/>
    <a:srgbClr val="94EFE3"/>
    <a:srgbClr val="565E61"/>
    <a:srgbClr val="FF0000"/>
    <a:srgbClr val="575E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179630-32E6-4C44-B534-D19BC548A4DD}" v="24" dt="2025-03-31T07:54:48.248"/>
  </p1510:revLst>
</p1510:revInfo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86418" autoAdjust="0"/>
  </p:normalViewPr>
  <p:slideViewPr>
    <p:cSldViewPr snapToGrid="0" showGuides="1">
      <p:cViewPr varScale="1">
        <p:scale>
          <a:sx n="118" d="100"/>
          <a:sy n="118" d="100"/>
        </p:scale>
        <p:origin x="114" y="180"/>
      </p:cViewPr>
      <p:guideLst>
        <p:guide orient="horz" pos="2160"/>
        <p:guide orient="horz" pos="3784"/>
        <p:guide orient="horz" pos="935"/>
        <p:guide orient="horz" pos="3271"/>
        <p:guide orient="horz" pos="1253"/>
        <p:guide pos="5952"/>
        <p:guide pos="72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932"/>
        <p:guide pos="221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aure, Didier" userId="791ba54c-1f49-4f2e-b537-01eab0413206" providerId="ADAL" clId="{5FA6CE73-62F5-4FEE-BBB5-7F1A9A603EA6}"/>
    <pc:docChg chg="undo redo custSel addSld delSld modSld sldOrd">
      <pc:chgData name="Faure, Didier" userId="791ba54c-1f49-4f2e-b537-01eab0413206" providerId="ADAL" clId="{5FA6CE73-62F5-4FEE-BBB5-7F1A9A603EA6}" dt="2025-02-14T14:15:32.716" v="5604" actId="20577"/>
      <pc:docMkLst>
        <pc:docMk/>
      </pc:docMkLst>
      <pc:sldChg chg="addSp delSp modSp mod ord">
        <pc:chgData name="Faure, Didier" userId="791ba54c-1f49-4f2e-b537-01eab0413206" providerId="ADAL" clId="{5FA6CE73-62F5-4FEE-BBB5-7F1A9A603EA6}" dt="2025-02-14T08:04:51.114" v="4033" actId="20577"/>
        <pc:sldMkLst>
          <pc:docMk/>
          <pc:sldMk cId="4193791004" sldId="256"/>
        </pc:sldMkLst>
        <pc:spChg chg="add mod">
          <ac:chgData name="Faure, Didier" userId="791ba54c-1f49-4f2e-b537-01eab0413206" providerId="ADAL" clId="{5FA6CE73-62F5-4FEE-BBB5-7F1A9A603EA6}" dt="2025-02-14T07:48:46.825" v="3969" actId="1037"/>
          <ac:spMkLst>
            <pc:docMk/>
            <pc:sldMk cId="4193791004" sldId="256"/>
            <ac:spMk id="2" creationId="{C7499B68-2785-1B86-220A-8D0954DD3590}"/>
          </ac:spMkLst>
        </pc:spChg>
        <pc:spChg chg="del mod">
          <ac:chgData name="Faure, Didier" userId="791ba54c-1f49-4f2e-b537-01eab0413206" providerId="ADAL" clId="{5FA6CE73-62F5-4FEE-BBB5-7F1A9A603EA6}" dt="2025-02-13T18:17:07.849" v="3595" actId="478"/>
          <ac:spMkLst>
            <pc:docMk/>
            <pc:sldMk cId="4193791004" sldId="256"/>
            <ac:spMk id="2" creationId="{E34FF0AF-A960-7351-6E92-867904141D8C}"/>
          </ac:spMkLst>
        </pc:spChg>
        <pc:spChg chg="add del mod">
          <ac:chgData name="Faure, Didier" userId="791ba54c-1f49-4f2e-b537-01eab0413206" providerId="ADAL" clId="{5FA6CE73-62F5-4FEE-BBB5-7F1A9A603EA6}" dt="2025-02-13T17:23:35.976" v="2856" actId="20577"/>
          <ac:spMkLst>
            <pc:docMk/>
            <pc:sldMk cId="4193791004" sldId="256"/>
            <ac:spMk id="3" creationId="{6C26CA26-7E5A-3383-08D7-01050AE80E8D}"/>
          </ac:spMkLst>
        </pc:spChg>
        <pc:spChg chg="add del mod">
          <ac:chgData name="Faure, Didier" userId="791ba54c-1f49-4f2e-b537-01eab0413206" providerId="ADAL" clId="{5FA6CE73-62F5-4FEE-BBB5-7F1A9A603EA6}" dt="2025-02-13T17:41:19.508" v="3136" actId="1035"/>
          <ac:spMkLst>
            <pc:docMk/>
            <pc:sldMk cId="4193791004" sldId="256"/>
            <ac:spMk id="5" creationId="{11983A11-2B0E-05C7-7CEA-4008B7D0754E}"/>
          </ac:spMkLst>
        </pc:spChg>
        <pc:spChg chg="del mod">
          <ac:chgData name="Faure, Didier" userId="791ba54c-1f49-4f2e-b537-01eab0413206" providerId="ADAL" clId="{5FA6CE73-62F5-4FEE-BBB5-7F1A9A603EA6}" dt="2025-02-13T17:14:35.091" v="2666" actId="478"/>
          <ac:spMkLst>
            <pc:docMk/>
            <pc:sldMk cId="4193791004" sldId="256"/>
            <ac:spMk id="6" creationId="{14AAB6D7-CBB4-9215-3B09-8C8A03E6FECC}"/>
          </ac:spMkLst>
        </pc:spChg>
        <pc:spChg chg="add mod">
          <ac:chgData name="Faure, Didier" userId="791ba54c-1f49-4f2e-b537-01eab0413206" providerId="ADAL" clId="{5FA6CE73-62F5-4FEE-BBB5-7F1A9A603EA6}" dt="2025-02-14T07:47:36.638" v="3961" actId="1076"/>
          <ac:spMkLst>
            <pc:docMk/>
            <pc:sldMk cId="4193791004" sldId="256"/>
            <ac:spMk id="6" creationId="{E7806934-9723-F029-9AF6-B8C432837EEE}"/>
          </ac:spMkLst>
        </pc:spChg>
        <pc:spChg chg="add del mod">
          <ac:chgData name="Faure, Didier" userId="791ba54c-1f49-4f2e-b537-01eab0413206" providerId="ADAL" clId="{5FA6CE73-62F5-4FEE-BBB5-7F1A9A603EA6}" dt="2025-02-13T17:41:19.508" v="3136" actId="1035"/>
          <ac:spMkLst>
            <pc:docMk/>
            <pc:sldMk cId="4193791004" sldId="256"/>
            <ac:spMk id="7" creationId="{E99B0361-37D6-947D-85C2-CD0C2C2D60DD}"/>
          </ac:spMkLst>
        </pc:spChg>
        <pc:spChg chg="add mod">
          <ac:chgData name="Faure, Didier" userId="791ba54c-1f49-4f2e-b537-01eab0413206" providerId="ADAL" clId="{5FA6CE73-62F5-4FEE-BBB5-7F1A9A603EA6}" dt="2025-02-13T17:24:33.133" v="2861" actId="14100"/>
          <ac:spMkLst>
            <pc:docMk/>
            <pc:sldMk cId="4193791004" sldId="256"/>
            <ac:spMk id="8" creationId="{0588ACAB-BA08-6D93-4ABA-029752FAC1AB}"/>
          </ac:spMkLst>
        </pc:spChg>
        <pc:spChg chg="add mod">
          <ac:chgData name="Faure, Didier" userId="791ba54c-1f49-4f2e-b537-01eab0413206" providerId="ADAL" clId="{5FA6CE73-62F5-4FEE-BBB5-7F1A9A603EA6}" dt="2025-02-13T17:17:53.349" v="2790" actId="1036"/>
          <ac:spMkLst>
            <pc:docMk/>
            <pc:sldMk cId="4193791004" sldId="256"/>
            <ac:spMk id="9" creationId="{90E23F40-4164-205E-18AB-A4C07D391CF4}"/>
          </ac:spMkLst>
        </pc:spChg>
        <pc:spChg chg="add mod">
          <ac:chgData name="Faure, Didier" userId="791ba54c-1f49-4f2e-b537-01eab0413206" providerId="ADAL" clId="{5FA6CE73-62F5-4FEE-BBB5-7F1A9A603EA6}" dt="2025-02-13T17:35:37.188" v="3019" actId="20577"/>
          <ac:spMkLst>
            <pc:docMk/>
            <pc:sldMk cId="4193791004" sldId="256"/>
            <ac:spMk id="10" creationId="{8362BC39-912D-84C3-2116-CCE16698CAC1}"/>
          </ac:spMkLst>
        </pc:spChg>
        <pc:spChg chg="add del mod">
          <ac:chgData name="Faure, Didier" userId="791ba54c-1f49-4f2e-b537-01eab0413206" providerId="ADAL" clId="{5FA6CE73-62F5-4FEE-BBB5-7F1A9A603EA6}" dt="2025-02-13T18:40:37.885" v="3666" actId="478"/>
          <ac:spMkLst>
            <pc:docMk/>
            <pc:sldMk cId="4193791004" sldId="256"/>
            <ac:spMk id="23" creationId="{F7E63B6A-2A15-B390-FA3A-7F3AAF982B3F}"/>
          </ac:spMkLst>
        </pc:spChg>
        <pc:spChg chg="add del mod">
          <ac:chgData name="Faure, Didier" userId="791ba54c-1f49-4f2e-b537-01eab0413206" providerId="ADAL" clId="{5FA6CE73-62F5-4FEE-BBB5-7F1A9A603EA6}" dt="2025-02-13T18:40:39.509" v="3667" actId="478"/>
          <ac:spMkLst>
            <pc:docMk/>
            <pc:sldMk cId="4193791004" sldId="256"/>
            <ac:spMk id="24" creationId="{AF0F1438-591F-B8E0-3583-149348EC9AC2}"/>
          </ac:spMkLst>
        </pc:spChg>
        <pc:spChg chg="add del mod">
          <ac:chgData name="Faure, Didier" userId="791ba54c-1f49-4f2e-b537-01eab0413206" providerId="ADAL" clId="{5FA6CE73-62F5-4FEE-BBB5-7F1A9A603EA6}" dt="2025-02-13T18:40:36.045" v="3665" actId="478"/>
          <ac:spMkLst>
            <pc:docMk/>
            <pc:sldMk cId="4193791004" sldId="256"/>
            <ac:spMk id="25" creationId="{9F2C7478-1375-DFB6-4560-DC31D8A2CD93}"/>
          </ac:spMkLst>
        </pc:spChg>
        <pc:spChg chg="add mod">
          <ac:chgData name="Faure, Didier" userId="791ba54c-1f49-4f2e-b537-01eab0413206" providerId="ADAL" clId="{5FA6CE73-62F5-4FEE-BBB5-7F1A9A603EA6}" dt="2025-02-13T18:55:45.871" v="3850" actId="207"/>
          <ac:spMkLst>
            <pc:docMk/>
            <pc:sldMk cId="4193791004" sldId="256"/>
            <ac:spMk id="26" creationId="{B058EDB0-515E-0399-3A2F-8E63E3FA35A4}"/>
          </ac:spMkLst>
        </pc:spChg>
        <pc:spChg chg="add mod">
          <ac:chgData name="Faure, Didier" userId="791ba54c-1f49-4f2e-b537-01eab0413206" providerId="ADAL" clId="{5FA6CE73-62F5-4FEE-BBB5-7F1A9A603EA6}" dt="2025-02-13T18:55:34.628" v="3849" actId="207"/>
          <ac:spMkLst>
            <pc:docMk/>
            <pc:sldMk cId="4193791004" sldId="256"/>
            <ac:spMk id="27" creationId="{131A9552-B2BE-7C99-1AEF-C8BB8C77FEF0}"/>
          </ac:spMkLst>
        </pc:spChg>
        <pc:spChg chg="add mod">
          <ac:chgData name="Faure, Didier" userId="791ba54c-1f49-4f2e-b537-01eab0413206" providerId="ADAL" clId="{5FA6CE73-62F5-4FEE-BBB5-7F1A9A603EA6}" dt="2025-02-13T18:55:31.846" v="3848" actId="207"/>
          <ac:spMkLst>
            <pc:docMk/>
            <pc:sldMk cId="4193791004" sldId="256"/>
            <ac:spMk id="28" creationId="{F8DD00C5-68E0-87C8-F66C-C1FAE2C343DD}"/>
          </ac:spMkLst>
        </pc:spChg>
        <pc:spChg chg="add mod">
          <ac:chgData name="Faure, Didier" userId="791ba54c-1f49-4f2e-b537-01eab0413206" providerId="ADAL" clId="{5FA6CE73-62F5-4FEE-BBB5-7F1A9A603EA6}" dt="2025-02-13T18:55:05.856" v="3847" actId="207"/>
          <ac:spMkLst>
            <pc:docMk/>
            <pc:sldMk cId="4193791004" sldId="256"/>
            <ac:spMk id="29" creationId="{93E757B3-8FF7-3ACC-E587-1C7ACC514630}"/>
          </ac:spMkLst>
        </pc:spChg>
        <pc:spChg chg="add mod">
          <ac:chgData name="Faure, Didier" userId="791ba54c-1f49-4f2e-b537-01eab0413206" providerId="ADAL" clId="{5FA6CE73-62F5-4FEE-BBB5-7F1A9A603EA6}" dt="2025-02-13T18:54:56.908" v="3846" actId="207"/>
          <ac:spMkLst>
            <pc:docMk/>
            <pc:sldMk cId="4193791004" sldId="256"/>
            <ac:spMk id="30" creationId="{6E0B7FEE-042E-7353-63E1-CAFFF77D98EF}"/>
          </ac:spMkLst>
        </pc:spChg>
        <pc:spChg chg="add del mod">
          <ac:chgData name="Faure, Didier" userId="791ba54c-1f49-4f2e-b537-01eab0413206" providerId="ADAL" clId="{5FA6CE73-62F5-4FEE-BBB5-7F1A9A603EA6}" dt="2025-02-13T18:52:36.967" v="3838" actId="478"/>
          <ac:spMkLst>
            <pc:docMk/>
            <pc:sldMk cId="4193791004" sldId="256"/>
            <ac:spMk id="31" creationId="{3A46C01A-608A-E4A7-8C47-3A44F59FF677}"/>
          </ac:spMkLst>
        </pc:spChg>
        <pc:spChg chg="add mod">
          <ac:chgData name="Faure, Didier" userId="791ba54c-1f49-4f2e-b537-01eab0413206" providerId="ADAL" clId="{5FA6CE73-62F5-4FEE-BBB5-7F1A9A603EA6}" dt="2025-02-13T18:54:17.908" v="3845" actId="1076"/>
          <ac:spMkLst>
            <pc:docMk/>
            <pc:sldMk cId="4193791004" sldId="256"/>
            <ac:spMk id="32" creationId="{76F6424E-B722-45F0-4C9F-270F07169B78}"/>
          </ac:spMkLst>
        </pc:spChg>
        <pc:spChg chg="mod">
          <ac:chgData name="Faure, Didier" userId="791ba54c-1f49-4f2e-b537-01eab0413206" providerId="ADAL" clId="{5FA6CE73-62F5-4FEE-BBB5-7F1A9A603EA6}" dt="2025-02-14T08:04:51.114" v="4033" actId="20577"/>
          <ac:spMkLst>
            <pc:docMk/>
            <pc:sldMk cId="4193791004" sldId="256"/>
            <ac:spMk id="45" creationId="{462D28B0-096D-D35E-8480-2F192B64945A}"/>
          </ac:spMkLst>
        </pc:spChg>
        <pc:spChg chg="mod">
          <ac:chgData name="Faure, Didier" userId="791ba54c-1f49-4f2e-b537-01eab0413206" providerId="ADAL" clId="{5FA6CE73-62F5-4FEE-BBB5-7F1A9A603EA6}" dt="2025-02-13T19:01:37.591" v="3899" actId="20577"/>
          <ac:spMkLst>
            <pc:docMk/>
            <pc:sldMk cId="4193791004" sldId="256"/>
            <ac:spMk id="52" creationId="{2D983DB6-86B6-2BF3-FCC8-46E7B8EBA5A3}"/>
          </ac:spMkLst>
        </pc:spChg>
        <pc:spChg chg="del mod">
          <ac:chgData name="Faure, Didier" userId="791ba54c-1f49-4f2e-b537-01eab0413206" providerId="ADAL" clId="{5FA6CE73-62F5-4FEE-BBB5-7F1A9A603EA6}" dt="2025-02-13T17:15:13.193" v="2669" actId="478"/>
          <ac:spMkLst>
            <pc:docMk/>
            <pc:sldMk cId="4193791004" sldId="256"/>
            <ac:spMk id="61" creationId="{3E8F08BB-7384-E4FB-4CF7-BFAD3ED739A3}"/>
          </ac:spMkLst>
        </pc:spChg>
        <pc:spChg chg="mod">
          <ac:chgData name="Faure, Didier" userId="791ba54c-1f49-4f2e-b537-01eab0413206" providerId="ADAL" clId="{5FA6CE73-62F5-4FEE-BBB5-7F1A9A603EA6}" dt="2025-02-13T17:29:20.878" v="2935" actId="114"/>
          <ac:spMkLst>
            <pc:docMk/>
            <pc:sldMk cId="4193791004" sldId="256"/>
            <ac:spMk id="62" creationId="{C8150B97-541C-BC17-A789-56F8312ED4DB}"/>
          </ac:spMkLst>
        </pc:spChg>
        <pc:spChg chg="mod">
          <ac:chgData name="Faure, Didier" userId="791ba54c-1f49-4f2e-b537-01eab0413206" providerId="ADAL" clId="{5FA6CE73-62F5-4FEE-BBB5-7F1A9A603EA6}" dt="2025-02-14T07:43:59.033" v="3939" actId="20577"/>
          <ac:spMkLst>
            <pc:docMk/>
            <pc:sldMk cId="4193791004" sldId="256"/>
            <ac:spMk id="63" creationId="{A80B108C-F084-D870-FFE1-699A4D7E5A9C}"/>
          </ac:spMkLst>
        </pc:spChg>
        <pc:spChg chg="mod">
          <ac:chgData name="Faure, Didier" userId="791ba54c-1f49-4f2e-b537-01eab0413206" providerId="ADAL" clId="{5FA6CE73-62F5-4FEE-BBB5-7F1A9A603EA6}" dt="2025-02-13T17:20:29.928" v="2827" actId="20577"/>
          <ac:spMkLst>
            <pc:docMk/>
            <pc:sldMk cId="4193791004" sldId="256"/>
            <ac:spMk id="65" creationId="{6F5CBB1E-7EAD-1268-BE31-C74056578596}"/>
          </ac:spMkLst>
        </pc:spChg>
        <pc:spChg chg="mod">
          <ac:chgData name="Faure, Didier" userId="791ba54c-1f49-4f2e-b537-01eab0413206" providerId="ADAL" clId="{5FA6CE73-62F5-4FEE-BBB5-7F1A9A603EA6}" dt="2025-02-13T17:46:13.185" v="3172" actId="20577"/>
          <ac:spMkLst>
            <pc:docMk/>
            <pc:sldMk cId="4193791004" sldId="256"/>
            <ac:spMk id="67" creationId="{1707BAA9-DCA5-5E2B-3C1B-986695A9A3BD}"/>
          </ac:spMkLst>
        </pc:spChg>
        <pc:spChg chg="mod">
          <ac:chgData name="Faure, Didier" userId="791ba54c-1f49-4f2e-b537-01eab0413206" providerId="ADAL" clId="{5FA6CE73-62F5-4FEE-BBB5-7F1A9A603EA6}" dt="2025-02-13T17:23:16.194" v="2848" actId="20577"/>
          <ac:spMkLst>
            <pc:docMk/>
            <pc:sldMk cId="4193791004" sldId="256"/>
            <ac:spMk id="69" creationId="{25DACCD5-7A73-7525-1A8B-7E787DA1F44B}"/>
          </ac:spMkLst>
        </pc:spChg>
        <pc:spChg chg="add del">
          <ac:chgData name="Faure, Didier" userId="791ba54c-1f49-4f2e-b537-01eab0413206" providerId="ADAL" clId="{5FA6CE73-62F5-4FEE-BBB5-7F1A9A603EA6}" dt="2025-02-13T09:47:40.207" v="593" actId="478"/>
          <ac:spMkLst>
            <pc:docMk/>
            <pc:sldMk cId="4193791004" sldId="256"/>
            <ac:spMk id="71" creationId="{82B5FA08-1DB6-77C3-5E88-F6CC8673B3A0}"/>
          </ac:spMkLst>
        </pc:spChg>
        <pc:spChg chg="add del mod">
          <ac:chgData name="Faure, Didier" userId="791ba54c-1f49-4f2e-b537-01eab0413206" providerId="ADAL" clId="{5FA6CE73-62F5-4FEE-BBB5-7F1A9A603EA6}" dt="2025-02-14T08:02:04.087" v="4022" actId="20577"/>
          <ac:spMkLst>
            <pc:docMk/>
            <pc:sldMk cId="4193791004" sldId="256"/>
            <ac:spMk id="73" creationId="{12EB70C3-9807-83CD-C6D7-8DA816CD10C5}"/>
          </ac:spMkLst>
        </pc:spChg>
        <pc:spChg chg="add del mod">
          <ac:chgData name="Faure, Didier" userId="791ba54c-1f49-4f2e-b537-01eab0413206" providerId="ADAL" clId="{5FA6CE73-62F5-4FEE-BBB5-7F1A9A603EA6}" dt="2025-02-14T07:53:53.241" v="4008" actId="1035"/>
          <ac:spMkLst>
            <pc:docMk/>
            <pc:sldMk cId="4193791004" sldId="256"/>
            <ac:spMk id="74" creationId="{E443DD28-22B4-64F2-4A99-C128192B85BB}"/>
          </ac:spMkLst>
        </pc:spChg>
        <pc:spChg chg="del">
          <ac:chgData name="Faure, Didier" userId="791ba54c-1f49-4f2e-b537-01eab0413206" providerId="ADAL" clId="{5FA6CE73-62F5-4FEE-BBB5-7F1A9A603EA6}" dt="2025-02-13T17:15:10.265" v="2668" actId="478"/>
          <ac:spMkLst>
            <pc:docMk/>
            <pc:sldMk cId="4193791004" sldId="256"/>
            <ac:spMk id="81" creationId="{7F8FF035-9BA4-F3F0-474B-3B8CA92BC57C}"/>
          </ac:spMkLst>
        </pc:spChg>
        <pc:spChg chg="add del">
          <ac:chgData name="Faure, Didier" userId="791ba54c-1f49-4f2e-b537-01eab0413206" providerId="ADAL" clId="{5FA6CE73-62F5-4FEE-BBB5-7F1A9A603EA6}" dt="2025-02-13T09:47:40.207" v="593" actId="478"/>
          <ac:spMkLst>
            <pc:docMk/>
            <pc:sldMk cId="4193791004" sldId="256"/>
            <ac:spMk id="85" creationId="{3CFECDA4-226B-79C8-A599-9758303A00AB}"/>
          </ac:spMkLst>
        </pc:spChg>
        <pc:grpChg chg="add del">
          <ac:chgData name="Faure, Didier" userId="791ba54c-1f49-4f2e-b537-01eab0413206" providerId="ADAL" clId="{5FA6CE73-62F5-4FEE-BBB5-7F1A9A603EA6}" dt="2025-02-13T09:47:40.793" v="594" actId="478"/>
          <ac:grpSpMkLst>
            <pc:docMk/>
            <pc:sldMk cId="4193791004" sldId="256"/>
            <ac:grpSpMk id="49" creationId="{490ED495-63AE-8B1F-4398-41F98B2EF32B}"/>
          </ac:grpSpMkLst>
        </pc:grpChg>
        <pc:grpChg chg="mod">
          <ac:chgData name="Faure, Didier" userId="791ba54c-1f49-4f2e-b537-01eab0413206" providerId="ADAL" clId="{5FA6CE73-62F5-4FEE-BBB5-7F1A9A603EA6}" dt="2025-02-13T18:46:39.932" v="3739" actId="14100"/>
          <ac:grpSpMkLst>
            <pc:docMk/>
            <pc:sldMk cId="4193791004" sldId="256"/>
            <ac:grpSpMk id="53" creationId="{AC61FE2B-F443-A0EE-09FE-18283CF93C4A}"/>
          </ac:grpSpMkLst>
        </pc:grpChg>
        <pc:picChg chg="add mod ord">
          <ac:chgData name="Faure, Didier" userId="791ba54c-1f49-4f2e-b537-01eab0413206" providerId="ADAL" clId="{5FA6CE73-62F5-4FEE-BBB5-7F1A9A603EA6}" dt="2025-02-14T07:49:51.902" v="3970" actId="688"/>
          <ac:picMkLst>
            <pc:docMk/>
            <pc:sldMk cId="4193791004" sldId="256"/>
            <ac:picMk id="12" creationId="{82AB52D6-7F92-2A4A-94B0-D0BDE22879A1}"/>
          </ac:picMkLst>
        </pc:picChg>
        <pc:picChg chg="add mod">
          <ac:chgData name="Faure, Didier" userId="791ba54c-1f49-4f2e-b537-01eab0413206" providerId="ADAL" clId="{5FA6CE73-62F5-4FEE-BBB5-7F1A9A603EA6}" dt="2025-02-13T18:50:49.684" v="3821" actId="1076"/>
          <ac:picMkLst>
            <pc:docMk/>
            <pc:sldMk cId="4193791004" sldId="256"/>
            <ac:picMk id="14" creationId="{F2BBD695-EB53-1FEB-C092-BE722E228459}"/>
          </ac:picMkLst>
        </pc:picChg>
        <pc:picChg chg="add mod">
          <ac:chgData name="Faure, Didier" userId="791ba54c-1f49-4f2e-b537-01eab0413206" providerId="ADAL" clId="{5FA6CE73-62F5-4FEE-BBB5-7F1A9A603EA6}" dt="2025-02-14T07:46:29.646" v="3954" actId="1076"/>
          <ac:picMkLst>
            <pc:docMk/>
            <pc:sldMk cId="4193791004" sldId="256"/>
            <ac:picMk id="16" creationId="{75955E32-AB03-D10D-6E4F-020247D77D12}"/>
          </ac:picMkLst>
        </pc:picChg>
        <pc:picChg chg="add mod">
          <ac:chgData name="Faure, Didier" userId="791ba54c-1f49-4f2e-b537-01eab0413206" providerId="ADAL" clId="{5FA6CE73-62F5-4FEE-BBB5-7F1A9A603EA6}" dt="2025-02-13T18:51:01.124" v="3823" actId="1076"/>
          <ac:picMkLst>
            <pc:docMk/>
            <pc:sldMk cId="4193791004" sldId="256"/>
            <ac:picMk id="18" creationId="{3DB7AF00-163A-F701-6F16-C817DD6496CB}"/>
          </ac:picMkLst>
        </pc:picChg>
        <pc:picChg chg="add mod">
          <ac:chgData name="Faure, Didier" userId="791ba54c-1f49-4f2e-b537-01eab0413206" providerId="ADAL" clId="{5FA6CE73-62F5-4FEE-BBB5-7F1A9A603EA6}" dt="2025-02-13T18:51:06.940" v="3825" actId="1076"/>
          <ac:picMkLst>
            <pc:docMk/>
            <pc:sldMk cId="4193791004" sldId="256"/>
            <ac:picMk id="20" creationId="{ED4F1989-7F35-6C54-B07C-572AC16634BA}"/>
          </ac:picMkLst>
        </pc:picChg>
        <pc:picChg chg="add mod">
          <ac:chgData name="Faure, Didier" userId="791ba54c-1f49-4f2e-b537-01eab0413206" providerId="ADAL" clId="{5FA6CE73-62F5-4FEE-BBB5-7F1A9A603EA6}" dt="2025-02-13T18:46:55.961" v="3741" actId="14100"/>
          <ac:picMkLst>
            <pc:docMk/>
            <pc:sldMk cId="4193791004" sldId="256"/>
            <ac:picMk id="22" creationId="{EF56E23B-56B7-1D23-767D-C0CDBA8FF631}"/>
          </ac:picMkLst>
        </pc:picChg>
      </pc:sldChg>
      <pc:sldChg chg="del">
        <pc:chgData name="Faure, Didier" userId="791ba54c-1f49-4f2e-b537-01eab0413206" providerId="ADAL" clId="{5FA6CE73-62F5-4FEE-BBB5-7F1A9A603EA6}" dt="2025-02-14T12:37:54.672" v="5345" actId="47"/>
        <pc:sldMkLst>
          <pc:docMk/>
          <pc:sldMk cId="3407963155" sldId="370"/>
        </pc:sldMkLst>
      </pc:sldChg>
      <pc:sldChg chg="del">
        <pc:chgData name="Faure, Didier" userId="791ba54c-1f49-4f2e-b537-01eab0413206" providerId="ADAL" clId="{5FA6CE73-62F5-4FEE-BBB5-7F1A9A603EA6}" dt="2025-02-14T12:38:03.361" v="5347" actId="47"/>
        <pc:sldMkLst>
          <pc:docMk/>
          <pc:sldMk cId="2637265538" sldId="372"/>
        </pc:sldMkLst>
      </pc:sldChg>
      <pc:sldChg chg="del">
        <pc:chgData name="Faure, Didier" userId="791ba54c-1f49-4f2e-b537-01eab0413206" providerId="ADAL" clId="{5FA6CE73-62F5-4FEE-BBB5-7F1A9A603EA6}" dt="2025-02-14T12:37:58.906" v="5346" actId="47"/>
        <pc:sldMkLst>
          <pc:docMk/>
          <pc:sldMk cId="434439161" sldId="399"/>
        </pc:sldMkLst>
      </pc:sldChg>
      <pc:sldChg chg="addSp modSp del mod">
        <pc:chgData name="Faure, Didier" userId="791ba54c-1f49-4f2e-b537-01eab0413206" providerId="ADAL" clId="{5FA6CE73-62F5-4FEE-BBB5-7F1A9A603EA6}" dt="2025-02-14T12:38:11.471" v="5348" actId="47"/>
        <pc:sldMkLst>
          <pc:docMk/>
          <pc:sldMk cId="403946448" sldId="405"/>
        </pc:sldMkLst>
        <pc:spChg chg="add mod">
          <ac:chgData name="Faure, Didier" userId="791ba54c-1f49-4f2e-b537-01eab0413206" providerId="ADAL" clId="{5FA6CE73-62F5-4FEE-BBB5-7F1A9A603EA6}" dt="2025-02-14T10:16:54.254" v="4731" actId="207"/>
          <ac:spMkLst>
            <pc:docMk/>
            <pc:sldMk cId="403946448" sldId="405"/>
            <ac:spMk id="3" creationId="{B35E1A39-9E33-8272-2B81-60EB41EB121A}"/>
          </ac:spMkLst>
        </pc:spChg>
        <pc:spChg chg="mod">
          <ac:chgData name="Faure, Didier" userId="791ba54c-1f49-4f2e-b537-01eab0413206" providerId="ADAL" clId="{5FA6CE73-62F5-4FEE-BBB5-7F1A9A603EA6}" dt="2025-02-14T10:23:38.738" v="4821" actId="20577"/>
          <ac:spMkLst>
            <pc:docMk/>
            <pc:sldMk cId="403946448" sldId="405"/>
            <ac:spMk id="8" creationId="{18AC10E8-A812-45E9-B606-6C55C6B8B9EE}"/>
          </ac:spMkLst>
        </pc:spChg>
      </pc:sldChg>
      <pc:sldChg chg="add del">
        <pc:chgData name="Faure, Didier" userId="791ba54c-1f49-4f2e-b537-01eab0413206" providerId="ADAL" clId="{5FA6CE73-62F5-4FEE-BBB5-7F1A9A603EA6}" dt="2025-02-13T19:03:25.134" v="3928" actId="47"/>
        <pc:sldMkLst>
          <pc:docMk/>
          <pc:sldMk cId="0" sldId="498"/>
        </pc:sldMkLst>
      </pc:sldChg>
      <pc:sldChg chg="modSp mod">
        <pc:chgData name="Faure, Didier" userId="791ba54c-1f49-4f2e-b537-01eab0413206" providerId="ADAL" clId="{5FA6CE73-62F5-4FEE-BBB5-7F1A9A603EA6}" dt="2025-02-14T14:14:54.696" v="5582" actId="20577"/>
        <pc:sldMkLst>
          <pc:docMk/>
          <pc:sldMk cId="4000004839" sldId="2147476634"/>
        </pc:sldMkLst>
        <pc:spChg chg="mod">
          <ac:chgData name="Faure, Didier" userId="791ba54c-1f49-4f2e-b537-01eab0413206" providerId="ADAL" clId="{5FA6CE73-62F5-4FEE-BBB5-7F1A9A603EA6}" dt="2025-02-10T17:30:59.526" v="93" actId="20577"/>
          <ac:spMkLst>
            <pc:docMk/>
            <pc:sldMk cId="4000004839" sldId="2147476634"/>
            <ac:spMk id="2" creationId="{4482D008-3C88-8D37-CD1D-F28FF4D47AFF}"/>
          </ac:spMkLst>
        </pc:spChg>
        <pc:graphicFrameChg chg="mod modGraphic">
          <ac:chgData name="Faure, Didier" userId="791ba54c-1f49-4f2e-b537-01eab0413206" providerId="ADAL" clId="{5FA6CE73-62F5-4FEE-BBB5-7F1A9A603EA6}" dt="2025-02-14T14:14:54.696" v="5582" actId="20577"/>
          <ac:graphicFrameMkLst>
            <pc:docMk/>
            <pc:sldMk cId="4000004839" sldId="2147476634"/>
            <ac:graphicFrameMk id="14" creationId="{0108B9E7-6E82-4E33-8098-704922F41704}"/>
          </ac:graphicFrameMkLst>
        </pc:graphicFrameChg>
      </pc:sldChg>
      <pc:sldChg chg="del">
        <pc:chgData name="Faure, Didier" userId="791ba54c-1f49-4f2e-b537-01eab0413206" providerId="ADAL" clId="{5FA6CE73-62F5-4FEE-BBB5-7F1A9A603EA6}" dt="2025-02-10T17:20:17.864" v="0" actId="47"/>
        <pc:sldMkLst>
          <pc:docMk/>
          <pc:sldMk cId="3345766336" sldId="2147481521"/>
        </pc:sldMkLst>
      </pc:sldChg>
      <pc:sldChg chg="addSp delSp modSp del mod">
        <pc:chgData name="Faure, Didier" userId="791ba54c-1f49-4f2e-b537-01eab0413206" providerId="ADAL" clId="{5FA6CE73-62F5-4FEE-BBB5-7F1A9A603EA6}" dt="2025-02-14T12:22:21.256" v="5310" actId="1582"/>
        <pc:sldMkLst>
          <pc:docMk/>
          <pc:sldMk cId="2008759033" sldId="2147481522"/>
        </pc:sldMkLst>
        <pc:spChg chg="del">
          <ac:chgData name="Faure, Didier" userId="791ba54c-1f49-4f2e-b537-01eab0413206" providerId="ADAL" clId="{5FA6CE73-62F5-4FEE-BBB5-7F1A9A603EA6}" dt="2025-02-13T09:18:06.837" v="371" actId="478"/>
          <ac:spMkLst>
            <pc:docMk/>
            <pc:sldMk cId="2008759033" sldId="2147481522"/>
            <ac:spMk id="9" creationId="{20F69D27-223E-3E93-783E-ACE10A4B0759}"/>
          </ac:spMkLst>
        </pc:spChg>
        <pc:spChg chg="del">
          <ac:chgData name="Faure, Didier" userId="791ba54c-1f49-4f2e-b537-01eab0413206" providerId="ADAL" clId="{5FA6CE73-62F5-4FEE-BBB5-7F1A9A603EA6}" dt="2025-02-13T09:18:06.837" v="371" actId="478"/>
          <ac:spMkLst>
            <pc:docMk/>
            <pc:sldMk cId="2008759033" sldId="2147481522"/>
            <ac:spMk id="10" creationId="{651FF8EA-BC6C-328E-13EF-E8E1E1E6BD4C}"/>
          </ac:spMkLst>
        </pc:spChg>
        <pc:spChg chg="mod">
          <ac:chgData name="Faure, Didier" userId="791ba54c-1f49-4f2e-b537-01eab0413206" providerId="ADAL" clId="{5FA6CE73-62F5-4FEE-BBB5-7F1A9A603EA6}" dt="2025-02-13T09:17:25.768" v="356"/>
          <ac:spMkLst>
            <pc:docMk/>
            <pc:sldMk cId="2008759033" sldId="2147481522"/>
            <ac:spMk id="20" creationId="{02DAF010-32D9-7C5A-AFA7-8C662ACD992F}"/>
          </ac:spMkLst>
        </pc:spChg>
        <pc:spChg chg="mod">
          <ac:chgData name="Faure, Didier" userId="791ba54c-1f49-4f2e-b537-01eab0413206" providerId="ADAL" clId="{5FA6CE73-62F5-4FEE-BBB5-7F1A9A603EA6}" dt="2025-02-13T09:17:49.181" v="368" actId="20577"/>
          <ac:spMkLst>
            <pc:docMk/>
            <pc:sldMk cId="2008759033" sldId="2147481522"/>
            <ac:spMk id="21" creationId="{7D8D2AE5-0142-6971-6505-D475D381BDD9}"/>
          </ac:spMkLst>
        </pc:spChg>
        <pc:spChg chg="del">
          <ac:chgData name="Faure, Didier" userId="791ba54c-1f49-4f2e-b537-01eab0413206" providerId="ADAL" clId="{5FA6CE73-62F5-4FEE-BBB5-7F1A9A603EA6}" dt="2025-02-13T09:47:47.434" v="595" actId="478"/>
          <ac:spMkLst>
            <pc:docMk/>
            <pc:sldMk cId="2008759033" sldId="2147481522"/>
            <ac:spMk id="25" creationId="{D44AA517-2401-0C60-B69A-058183D07EEF}"/>
          </ac:spMkLst>
        </pc:spChg>
        <pc:spChg chg="del">
          <ac:chgData name="Faure, Didier" userId="791ba54c-1f49-4f2e-b537-01eab0413206" providerId="ADAL" clId="{5FA6CE73-62F5-4FEE-BBB5-7F1A9A603EA6}" dt="2025-02-13T09:47:47.434" v="595" actId="478"/>
          <ac:spMkLst>
            <pc:docMk/>
            <pc:sldMk cId="2008759033" sldId="2147481522"/>
            <ac:spMk id="26" creationId="{45032C14-1446-1FDB-DD6C-516EB35DA47E}"/>
          </ac:spMkLst>
        </pc:spChg>
        <pc:spChg chg="add del mod ord">
          <ac:chgData name="Faure, Didier" userId="791ba54c-1f49-4f2e-b537-01eab0413206" providerId="ADAL" clId="{5FA6CE73-62F5-4FEE-BBB5-7F1A9A603EA6}" dt="2025-02-14T12:22:21.256" v="5310" actId="1582"/>
          <ac:spMkLst>
            <pc:docMk/>
            <pc:sldMk cId="2008759033" sldId="2147481522"/>
            <ac:spMk id="29" creationId="{A065D1BD-6027-BCDF-B4CB-20E46A0DA95F}"/>
          </ac:spMkLst>
        </pc:spChg>
        <pc:spChg chg="add del mod">
          <ac:chgData name="Faure, Didier" userId="791ba54c-1f49-4f2e-b537-01eab0413206" providerId="ADAL" clId="{5FA6CE73-62F5-4FEE-BBB5-7F1A9A603EA6}" dt="2025-02-13T12:06:19.523" v="1197" actId="478"/>
          <ac:spMkLst>
            <pc:docMk/>
            <pc:sldMk cId="2008759033" sldId="2147481522"/>
            <ac:spMk id="30" creationId="{9685F549-BF59-E99B-4DFD-85BE862CB217}"/>
          </ac:spMkLst>
        </pc:spChg>
        <pc:spChg chg="mod">
          <ac:chgData name="Faure, Didier" userId="791ba54c-1f49-4f2e-b537-01eab0413206" providerId="ADAL" clId="{5FA6CE73-62F5-4FEE-BBB5-7F1A9A603EA6}" dt="2025-02-13T09:20:46.216" v="381"/>
          <ac:spMkLst>
            <pc:docMk/>
            <pc:sldMk cId="2008759033" sldId="2147481522"/>
            <ac:spMk id="35" creationId="{14C279D3-798C-9799-EEAF-C9ACA2FA8A4B}"/>
          </ac:spMkLst>
        </pc:spChg>
        <pc:spChg chg="mod">
          <ac:chgData name="Faure, Didier" userId="791ba54c-1f49-4f2e-b537-01eab0413206" providerId="ADAL" clId="{5FA6CE73-62F5-4FEE-BBB5-7F1A9A603EA6}" dt="2025-02-13T09:21:38.013" v="407" actId="14100"/>
          <ac:spMkLst>
            <pc:docMk/>
            <pc:sldMk cId="2008759033" sldId="2147481522"/>
            <ac:spMk id="36" creationId="{56C847F2-77A6-1DC8-3C7A-05B03C94E199}"/>
          </ac:spMkLst>
        </pc:spChg>
        <pc:spChg chg="add del mod">
          <ac:chgData name="Faure, Didier" userId="791ba54c-1f49-4f2e-b537-01eab0413206" providerId="ADAL" clId="{5FA6CE73-62F5-4FEE-BBB5-7F1A9A603EA6}" dt="2025-02-13T09:22:33.923" v="412" actId="478"/>
          <ac:spMkLst>
            <pc:docMk/>
            <pc:sldMk cId="2008759033" sldId="2147481522"/>
            <ac:spMk id="39" creationId="{9E7A09E2-91FC-37C9-9F86-FBCF994EB685}"/>
          </ac:spMkLst>
        </pc:spChg>
        <pc:spChg chg="add mod">
          <ac:chgData name="Faure, Didier" userId="791ba54c-1f49-4f2e-b537-01eab0413206" providerId="ADAL" clId="{5FA6CE73-62F5-4FEE-BBB5-7F1A9A603EA6}" dt="2025-02-14T07:43:18.202" v="3934" actId="20577"/>
          <ac:spMkLst>
            <pc:docMk/>
            <pc:sldMk cId="2008759033" sldId="2147481522"/>
            <ac:spMk id="43" creationId="{1F7E0432-1F21-8AC7-7570-37C7A60BDDC9}"/>
          </ac:spMkLst>
        </pc:spChg>
        <pc:spChg chg="add mod">
          <ac:chgData name="Faure, Didier" userId="791ba54c-1f49-4f2e-b537-01eab0413206" providerId="ADAL" clId="{5FA6CE73-62F5-4FEE-BBB5-7F1A9A603EA6}" dt="2025-02-13T11:42:55.953" v="810" actId="20577"/>
          <ac:spMkLst>
            <pc:docMk/>
            <pc:sldMk cId="2008759033" sldId="2147481522"/>
            <ac:spMk id="44" creationId="{16E06F8D-06AE-D0BD-E586-7D555981C48C}"/>
          </ac:spMkLst>
        </pc:spChg>
        <pc:spChg chg="mod">
          <ac:chgData name="Faure, Didier" userId="791ba54c-1f49-4f2e-b537-01eab0413206" providerId="ADAL" clId="{5FA6CE73-62F5-4FEE-BBB5-7F1A9A603EA6}" dt="2025-02-13T12:11:57.310" v="1306" actId="20577"/>
          <ac:spMkLst>
            <pc:docMk/>
            <pc:sldMk cId="2008759033" sldId="2147481522"/>
            <ac:spMk id="45" creationId="{462D28B0-096D-D35E-8480-2F192B64945A}"/>
          </ac:spMkLst>
        </pc:spChg>
        <pc:spChg chg="mod">
          <ac:chgData name="Faure, Didier" userId="791ba54c-1f49-4f2e-b537-01eab0413206" providerId="ADAL" clId="{5FA6CE73-62F5-4FEE-BBB5-7F1A9A603EA6}" dt="2025-02-13T15:41:25.654" v="1741"/>
          <ac:spMkLst>
            <pc:docMk/>
            <pc:sldMk cId="2008759033" sldId="2147481522"/>
            <ac:spMk id="52" creationId="{2D983DB6-86B6-2BF3-FCC8-46E7B8EBA5A3}"/>
          </ac:spMkLst>
        </pc:spChg>
        <pc:spChg chg="add mod">
          <ac:chgData name="Faure, Didier" userId="791ba54c-1f49-4f2e-b537-01eab0413206" providerId="ADAL" clId="{5FA6CE73-62F5-4FEE-BBB5-7F1A9A603EA6}" dt="2025-02-13T09:48:31.122" v="597" actId="20577"/>
          <ac:spMkLst>
            <pc:docMk/>
            <pc:sldMk cId="2008759033" sldId="2147481522"/>
            <ac:spMk id="56" creationId="{8AD76F4F-D33E-15E6-143B-FBAB4318BBD3}"/>
          </ac:spMkLst>
        </pc:spChg>
        <pc:spChg chg="add del mod">
          <ac:chgData name="Faure, Didier" userId="791ba54c-1f49-4f2e-b537-01eab0413206" providerId="ADAL" clId="{5FA6CE73-62F5-4FEE-BBB5-7F1A9A603EA6}" dt="2025-02-13T09:48:33.396" v="598" actId="478"/>
          <ac:spMkLst>
            <pc:docMk/>
            <pc:sldMk cId="2008759033" sldId="2147481522"/>
            <ac:spMk id="57" creationId="{A45D8010-F36D-C886-872E-F46D5C56BC85}"/>
          </ac:spMkLst>
        </pc:spChg>
        <pc:spChg chg="add mod">
          <ac:chgData name="Faure, Didier" userId="791ba54c-1f49-4f2e-b537-01eab0413206" providerId="ADAL" clId="{5FA6CE73-62F5-4FEE-BBB5-7F1A9A603EA6}" dt="2025-02-13T16:46:50.158" v="2404" actId="6549"/>
          <ac:spMkLst>
            <pc:docMk/>
            <pc:sldMk cId="2008759033" sldId="2147481522"/>
            <ac:spMk id="58" creationId="{F00B6BB3-A3E3-CA84-7476-821AFB2B3491}"/>
          </ac:spMkLst>
        </pc:spChg>
        <pc:spChg chg="add mod">
          <ac:chgData name="Faure, Didier" userId="791ba54c-1f49-4f2e-b537-01eab0413206" providerId="ADAL" clId="{5FA6CE73-62F5-4FEE-BBB5-7F1A9A603EA6}" dt="2025-02-13T11:42:54.201" v="809" actId="20577"/>
          <ac:spMkLst>
            <pc:docMk/>
            <pc:sldMk cId="2008759033" sldId="2147481522"/>
            <ac:spMk id="59" creationId="{E3910491-7723-94C0-C7FE-8B2C1EE14CC9}"/>
          </ac:spMkLst>
        </pc:spChg>
        <pc:spChg chg="add mod">
          <ac:chgData name="Faure, Didier" userId="791ba54c-1f49-4f2e-b537-01eab0413206" providerId="ADAL" clId="{5FA6CE73-62F5-4FEE-BBB5-7F1A9A603EA6}" dt="2025-02-13T11:53:01.122" v="1049" actId="1036"/>
          <ac:spMkLst>
            <pc:docMk/>
            <pc:sldMk cId="2008759033" sldId="2147481522"/>
            <ac:spMk id="60" creationId="{25E502BD-5210-E88A-3E4F-EC45F2B1D2B3}"/>
          </ac:spMkLst>
        </pc:spChg>
        <pc:spChg chg="mod">
          <ac:chgData name="Faure, Didier" userId="791ba54c-1f49-4f2e-b537-01eab0413206" providerId="ADAL" clId="{5FA6CE73-62F5-4FEE-BBB5-7F1A9A603EA6}" dt="2025-02-13T11:11:34.939" v="697" actId="20577"/>
          <ac:spMkLst>
            <pc:docMk/>
            <pc:sldMk cId="2008759033" sldId="2147481522"/>
            <ac:spMk id="61" creationId="{3E8F08BB-7384-E4FB-4CF7-BFAD3ED739A3}"/>
          </ac:spMkLst>
        </pc:spChg>
        <pc:spChg chg="mod">
          <ac:chgData name="Faure, Didier" userId="791ba54c-1f49-4f2e-b537-01eab0413206" providerId="ADAL" clId="{5FA6CE73-62F5-4FEE-BBB5-7F1A9A603EA6}" dt="2025-02-13T11:21:34.162" v="728" actId="255"/>
          <ac:spMkLst>
            <pc:docMk/>
            <pc:sldMk cId="2008759033" sldId="2147481522"/>
            <ac:spMk id="62" creationId="{C8150B97-541C-BC17-A789-56F8312ED4DB}"/>
          </ac:spMkLst>
        </pc:spChg>
        <pc:spChg chg="del">
          <ac:chgData name="Faure, Didier" userId="791ba54c-1f49-4f2e-b537-01eab0413206" providerId="ADAL" clId="{5FA6CE73-62F5-4FEE-BBB5-7F1A9A603EA6}" dt="2025-02-13T09:47:47.434" v="595" actId="478"/>
          <ac:spMkLst>
            <pc:docMk/>
            <pc:sldMk cId="2008759033" sldId="2147481522"/>
            <ac:spMk id="63" creationId="{A80B108C-F084-D870-FFE1-699A4D7E5A9C}"/>
          </ac:spMkLst>
        </pc:spChg>
        <pc:spChg chg="del">
          <ac:chgData name="Faure, Didier" userId="791ba54c-1f49-4f2e-b537-01eab0413206" providerId="ADAL" clId="{5FA6CE73-62F5-4FEE-BBB5-7F1A9A603EA6}" dt="2025-02-13T09:47:47.434" v="595" actId="478"/>
          <ac:spMkLst>
            <pc:docMk/>
            <pc:sldMk cId="2008759033" sldId="2147481522"/>
            <ac:spMk id="64" creationId="{DBADC5FC-5F63-742C-4471-FC03D2601782}"/>
          </ac:spMkLst>
        </pc:spChg>
        <pc:spChg chg="add mod">
          <ac:chgData name="Faure, Didier" userId="791ba54c-1f49-4f2e-b537-01eab0413206" providerId="ADAL" clId="{5FA6CE73-62F5-4FEE-BBB5-7F1A9A603EA6}" dt="2025-02-13T11:53:01.122" v="1049" actId="1036"/>
          <ac:spMkLst>
            <pc:docMk/>
            <pc:sldMk cId="2008759033" sldId="2147481522"/>
            <ac:spMk id="65" creationId="{C1EB025B-F6E8-9DFD-B2AE-9A63DA806842}"/>
          </ac:spMkLst>
        </pc:spChg>
        <pc:spChg chg="add mod">
          <ac:chgData name="Faure, Didier" userId="791ba54c-1f49-4f2e-b537-01eab0413206" providerId="ADAL" clId="{5FA6CE73-62F5-4FEE-BBB5-7F1A9A603EA6}" dt="2025-02-13T09:53:09.788" v="684" actId="1036"/>
          <ac:spMkLst>
            <pc:docMk/>
            <pc:sldMk cId="2008759033" sldId="2147481522"/>
            <ac:spMk id="66" creationId="{0E2F9176-20BD-CF0E-D425-CC844341E8F1}"/>
          </ac:spMkLst>
        </pc:spChg>
        <pc:spChg chg="del">
          <ac:chgData name="Faure, Didier" userId="791ba54c-1f49-4f2e-b537-01eab0413206" providerId="ADAL" clId="{5FA6CE73-62F5-4FEE-BBB5-7F1A9A603EA6}" dt="2025-02-13T09:47:47.434" v="595" actId="478"/>
          <ac:spMkLst>
            <pc:docMk/>
            <pc:sldMk cId="2008759033" sldId="2147481522"/>
            <ac:spMk id="67" creationId="{1707BAA9-DCA5-5E2B-3C1B-986695A9A3BD}"/>
          </ac:spMkLst>
        </pc:spChg>
        <pc:spChg chg="del">
          <ac:chgData name="Faure, Didier" userId="791ba54c-1f49-4f2e-b537-01eab0413206" providerId="ADAL" clId="{5FA6CE73-62F5-4FEE-BBB5-7F1A9A603EA6}" dt="2025-02-13T09:47:47.434" v="595" actId="478"/>
          <ac:spMkLst>
            <pc:docMk/>
            <pc:sldMk cId="2008759033" sldId="2147481522"/>
            <ac:spMk id="68" creationId="{7DE98027-5F83-A5FC-4337-E3E1E304AA6F}"/>
          </ac:spMkLst>
        </pc:spChg>
        <pc:spChg chg="del">
          <ac:chgData name="Faure, Didier" userId="791ba54c-1f49-4f2e-b537-01eab0413206" providerId="ADAL" clId="{5FA6CE73-62F5-4FEE-BBB5-7F1A9A603EA6}" dt="2025-02-13T09:47:47.434" v="595" actId="478"/>
          <ac:spMkLst>
            <pc:docMk/>
            <pc:sldMk cId="2008759033" sldId="2147481522"/>
            <ac:spMk id="69" creationId="{25DACCD5-7A73-7525-1A8B-7E787DA1F44B}"/>
          </ac:spMkLst>
        </pc:spChg>
        <pc:spChg chg="del">
          <ac:chgData name="Faure, Didier" userId="791ba54c-1f49-4f2e-b537-01eab0413206" providerId="ADAL" clId="{5FA6CE73-62F5-4FEE-BBB5-7F1A9A603EA6}" dt="2025-02-13T09:47:47.434" v="595" actId="478"/>
          <ac:spMkLst>
            <pc:docMk/>
            <pc:sldMk cId="2008759033" sldId="2147481522"/>
            <ac:spMk id="70" creationId="{93B8876F-D75E-DDD0-807A-A249C3FADAED}"/>
          </ac:spMkLst>
        </pc:spChg>
        <pc:spChg chg="add mod">
          <ac:chgData name="Faure, Didier" userId="791ba54c-1f49-4f2e-b537-01eab0413206" providerId="ADAL" clId="{5FA6CE73-62F5-4FEE-BBB5-7F1A9A603EA6}" dt="2025-02-13T11:55:29.090" v="1071" actId="113"/>
          <ac:spMkLst>
            <pc:docMk/>
            <pc:sldMk cId="2008759033" sldId="2147481522"/>
            <ac:spMk id="71" creationId="{E5A51C88-46E7-2DD5-2451-679ADCAD5F63}"/>
          </ac:spMkLst>
        </pc:spChg>
        <pc:spChg chg="del">
          <ac:chgData name="Faure, Didier" userId="791ba54c-1f49-4f2e-b537-01eab0413206" providerId="ADAL" clId="{5FA6CE73-62F5-4FEE-BBB5-7F1A9A603EA6}" dt="2025-02-13T09:47:47.434" v="595" actId="478"/>
          <ac:spMkLst>
            <pc:docMk/>
            <pc:sldMk cId="2008759033" sldId="2147481522"/>
            <ac:spMk id="72" creationId="{1FDECD4F-9DF8-6612-491B-34F87349BAA1}"/>
          </ac:spMkLst>
        </pc:spChg>
        <pc:spChg chg="del">
          <ac:chgData name="Faure, Didier" userId="791ba54c-1f49-4f2e-b537-01eab0413206" providerId="ADAL" clId="{5FA6CE73-62F5-4FEE-BBB5-7F1A9A603EA6}" dt="2025-02-13T09:47:47.434" v="595" actId="478"/>
          <ac:spMkLst>
            <pc:docMk/>
            <pc:sldMk cId="2008759033" sldId="2147481522"/>
            <ac:spMk id="73" creationId="{12EB70C3-9807-83CD-C6D7-8DA816CD10C5}"/>
          </ac:spMkLst>
        </pc:spChg>
        <pc:spChg chg="del">
          <ac:chgData name="Faure, Didier" userId="791ba54c-1f49-4f2e-b537-01eab0413206" providerId="ADAL" clId="{5FA6CE73-62F5-4FEE-BBB5-7F1A9A603EA6}" dt="2025-02-13T09:47:47.434" v="595" actId="478"/>
          <ac:spMkLst>
            <pc:docMk/>
            <pc:sldMk cId="2008759033" sldId="2147481522"/>
            <ac:spMk id="74" creationId="{E443DD28-22B4-64F2-4A99-C128192B85BB}"/>
          </ac:spMkLst>
        </pc:spChg>
        <pc:spChg chg="del">
          <ac:chgData name="Faure, Didier" userId="791ba54c-1f49-4f2e-b537-01eab0413206" providerId="ADAL" clId="{5FA6CE73-62F5-4FEE-BBB5-7F1A9A603EA6}" dt="2025-02-13T09:47:47.434" v="595" actId="478"/>
          <ac:spMkLst>
            <pc:docMk/>
            <pc:sldMk cId="2008759033" sldId="2147481522"/>
            <ac:spMk id="75" creationId="{ED133E87-7334-5DAE-45D3-5C83D05C9F54}"/>
          </ac:spMkLst>
        </pc:spChg>
        <pc:spChg chg="add mod">
          <ac:chgData name="Faure, Didier" userId="791ba54c-1f49-4f2e-b537-01eab0413206" providerId="ADAL" clId="{5FA6CE73-62F5-4FEE-BBB5-7F1A9A603EA6}" dt="2025-02-13T09:48:01.654" v="596"/>
          <ac:spMkLst>
            <pc:docMk/>
            <pc:sldMk cId="2008759033" sldId="2147481522"/>
            <ac:spMk id="76" creationId="{0A22A650-59C2-29BC-FFBC-C6FA9F5085AC}"/>
          </ac:spMkLst>
        </pc:spChg>
        <pc:spChg chg="add del mod ord">
          <ac:chgData name="Faure, Didier" userId="791ba54c-1f49-4f2e-b537-01eab0413206" providerId="ADAL" clId="{5FA6CE73-62F5-4FEE-BBB5-7F1A9A603EA6}" dt="2025-02-14T12:19:18.522" v="5293" actId="167"/>
          <ac:spMkLst>
            <pc:docMk/>
            <pc:sldMk cId="2008759033" sldId="2147481522"/>
            <ac:spMk id="77" creationId="{CEB518CC-88F0-C974-99B5-11D72930C682}"/>
          </ac:spMkLst>
        </pc:spChg>
        <pc:spChg chg="add mod">
          <ac:chgData name="Faure, Didier" userId="791ba54c-1f49-4f2e-b537-01eab0413206" providerId="ADAL" clId="{5FA6CE73-62F5-4FEE-BBB5-7F1A9A603EA6}" dt="2025-02-13T09:48:01.654" v="596"/>
          <ac:spMkLst>
            <pc:docMk/>
            <pc:sldMk cId="2008759033" sldId="2147481522"/>
            <ac:spMk id="78" creationId="{8059F00A-56ED-C575-A0A3-37EF763142D7}"/>
          </ac:spMkLst>
        </pc:spChg>
        <pc:spChg chg="del">
          <ac:chgData name="Faure, Didier" userId="791ba54c-1f49-4f2e-b537-01eab0413206" providerId="ADAL" clId="{5FA6CE73-62F5-4FEE-BBB5-7F1A9A603EA6}" dt="2025-02-13T09:18:06.837" v="371" actId="478"/>
          <ac:spMkLst>
            <pc:docMk/>
            <pc:sldMk cId="2008759033" sldId="2147481522"/>
            <ac:spMk id="80" creationId="{2ABA18F3-25EE-7420-D47E-2B68A1CEAA9E}"/>
          </ac:spMkLst>
        </pc:spChg>
        <pc:spChg chg="del">
          <ac:chgData name="Faure, Didier" userId="791ba54c-1f49-4f2e-b537-01eab0413206" providerId="ADAL" clId="{5FA6CE73-62F5-4FEE-BBB5-7F1A9A603EA6}" dt="2025-02-13T09:47:47.434" v="595" actId="478"/>
          <ac:spMkLst>
            <pc:docMk/>
            <pc:sldMk cId="2008759033" sldId="2147481522"/>
            <ac:spMk id="83" creationId="{BB6C8BF8-83D3-54C0-D546-7997C19520F1}"/>
          </ac:spMkLst>
        </pc:spChg>
        <pc:spChg chg="del">
          <ac:chgData name="Faure, Didier" userId="791ba54c-1f49-4f2e-b537-01eab0413206" providerId="ADAL" clId="{5FA6CE73-62F5-4FEE-BBB5-7F1A9A603EA6}" dt="2025-02-13T09:47:47.434" v="595" actId="478"/>
          <ac:spMkLst>
            <pc:docMk/>
            <pc:sldMk cId="2008759033" sldId="2147481522"/>
            <ac:spMk id="85" creationId="{3CFECDA4-226B-79C8-A599-9758303A00AB}"/>
          </ac:spMkLst>
        </pc:spChg>
        <pc:spChg chg="add mod">
          <ac:chgData name="Faure, Didier" userId="791ba54c-1f49-4f2e-b537-01eab0413206" providerId="ADAL" clId="{5FA6CE73-62F5-4FEE-BBB5-7F1A9A603EA6}" dt="2025-02-13T09:48:01.654" v="596"/>
          <ac:spMkLst>
            <pc:docMk/>
            <pc:sldMk cId="2008759033" sldId="2147481522"/>
            <ac:spMk id="86" creationId="{F58707DE-8A0D-A1EA-F8EA-3BA68A878798}"/>
          </ac:spMkLst>
        </pc:spChg>
        <pc:spChg chg="add mod">
          <ac:chgData name="Faure, Didier" userId="791ba54c-1f49-4f2e-b537-01eab0413206" providerId="ADAL" clId="{5FA6CE73-62F5-4FEE-BBB5-7F1A9A603EA6}" dt="2025-02-13T11:43:59.381" v="834" actId="20577"/>
          <ac:spMkLst>
            <pc:docMk/>
            <pc:sldMk cId="2008759033" sldId="2147481522"/>
            <ac:spMk id="87" creationId="{F110D102-BD5E-9619-CCFF-2290AD9A75EF}"/>
          </ac:spMkLst>
        </pc:spChg>
        <pc:spChg chg="add mod">
          <ac:chgData name="Faure, Didier" userId="791ba54c-1f49-4f2e-b537-01eab0413206" providerId="ADAL" clId="{5FA6CE73-62F5-4FEE-BBB5-7F1A9A603EA6}" dt="2025-02-13T15:57:11.725" v="2016" actId="20577"/>
          <ac:spMkLst>
            <pc:docMk/>
            <pc:sldMk cId="2008759033" sldId="2147481522"/>
            <ac:spMk id="88" creationId="{0AC04F7A-116D-9718-E0D5-CF1F089A2952}"/>
          </ac:spMkLst>
        </pc:spChg>
        <pc:spChg chg="add mod">
          <ac:chgData name="Faure, Didier" userId="791ba54c-1f49-4f2e-b537-01eab0413206" providerId="ADAL" clId="{5FA6CE73-62F5-4FEE-BBB5-7F1A9A603EA6}" dt="2025-02-13T11:54:40.400" v="1070" actId="20577"/>
          <ac:spMkLst>
            <pc:docMk/>
            <pc:sldMk cId="2008759033" sldId="2147481522"/>
            <ac:spMk id="89" creationId="{92B33583-B78B-3838-A775-6DB271509FE7}"/>
          </ac:spMkLst>
        </pc:spChg>
        <pc:spChg chg="add mod">
          <ac:chgData name="Faure, Didier" userId="791ba54c-1f49-4f2e-b537-01eab0413206" providerId="ADAL" clId="{5FA6CE73-62F5-4FEE-BBB5-7F1A9A603EA6}" dt="2025-02-13T09:51:36.685" v="672" actId="1036"/>
          <ac:spMkLst>
            <pc:docMk/>
            <pc:sldMk cId="2008759033" sldId="2147481522"/>
            <ac:spMk id="90" creationId="{087BDA7C-550E-8C44-8904-10E118485546}"/>
          </ac:spMkLst>
        </pc:spChg>
        <pc:spChg chg="add mod">
          <ac:chgData name="Faure, Didier" userId="791ba54c-1f49-4f2e-b537-01eab0413206" providerId="ADAL" clId="{5FA6CE73-62F5-4FEE-BBB5-7F1A9A603EA6}" dt="2025-02-13T12:35:07.318" v="1420" actId="1076"/>
          <ac:spMkLst>
            <pc:docMk/>
            <pc:sldMk cId="2008759033" sldId="2147481522"/>
            <ac:spMk id="98" creationId="{3D225CB2-630E-D23E-0957-A27BB2552B1C}"/>
          </ac:spMkLst>
        </pc:spChg>
        <pc:spChg chg="add mod">
          <ac:chgData name="Faure, Didier" userId="791ba54c-1f49-4f2e-b537-01eab0413206" providerId="ADAL" clId="{5FA6CE73-62F5-4FEE-BBB5-7F1A9A603EA6}" dt="2025-02-13T12:35:33.781" v="1430" actId="1076"/>
          <ac:spMkLst>
            <pc:docMk/>
            <pc:sldMk cId="2008759033" sldId="2147481522"/>
            <ac:spMk id="99" creationId="{031ED419-5B19-3F0B-5703-0892586118A3}"/>
          </ac:spMkLst>
        </pc:spChg>
        <pc:spChg chg="add mod">
          <ac:chgData name="Faure, Didier" userId="791ba54c-1f49-4f2e-b537-01eab0413206" providerId="ADAL" clId="{5FA6CE73-62F5-4FEE-BBB5-7F1A9A603EA6}" dt="2025-02-13T12:33:34.651" v="1409" actId="207"/>
          <ac:spMkLst>
            <pc:docMk/>
            <pc:sldMk cId="2008759033" sldId="2147481522"/>
            <ac:spMk id="100" creationId="{15343C28-D3EB-C214-5F63-B0CC526596F4}"/>
          </ac:spMkLst>
        </pc:spChg>
        <pc:spChg chg="add mod">
          <ac:chgData name="Faure, Didier" userId="791ba54c-1f49-4f2e-b537-01eab0413206" providerId="ADAL" clId="{5FA6CE73-62F5-4FEE-BBB5-7F1A9A603EA6}" dt="2025-02-13T12:34:31.446" v="1415" actId="1076"/>
          <ac:spMkLst>
            <pc:docMk/>
            <pc:sldMk cId="2008759033" sldId="2147481522"/>
            <ac:spMk id="104" creationId="{A8E9D213-08D9-E160-393C-B6ECD02B0C57}"/>
          </ac:spMkLst>
        </pc:spChg>
        <pc:spChg chg="add mod">
          <ac:chgData name="Faure, Didier" userId="791ba54c-1f49-4f2e-b537-01eab0413206" providerId="ADAL" clId="{5FA6CE73-62F5-4FEE-BBB5-7F1A9A603EA6}" dt="2025-02-13T12:35:29.885" v="1429" actId="1076"/>
          <ac:spMkLst>
            <pc:docMk/>
            <pc:sldMk cId="2008759033" sldId="2147481522"/>
            <ac:spMk id="105" creationId="{A5F24B8D-D73D-7670-AA77-078D814C49CD}"/>
          </ac:spMkLst>
        </pc:spChg>
        <pc:spChg chg="add mod">
          <ac:chgData name="Faure, Didier" userId="791ba54c-1f49-4f2e-b537-01eab0413206" providerId="ADAL" clId="{5FA6CE73-62F5-4FEE-BBB5-7F1A9A603EA6}" dt="2025-02-13T12:48:38.891" v="1530" actId="20577"/>
          <ac:spMkLst>
            <pc:docMk/>
            <pc:sldMk cId="2008759033" sldId="2147481522"/>
            <ac:spMk id="107" creationId="{BF9AC984-E943-0C69-3FE9-40B010E39B48}"/>
          </ac:spMkLst>
        </pc:spChg>
        <pc:spChg chg="add mod ord">
          <ac:chgData name="Faure, Didier" userId="791ba54c-1f49-4f2e-b537-01eab0413206" providerId="ADAL" clId="{5FA6CE73-62F5-4FEE-BBB5-7F1A9A603EA6}" dt="2025-02-14T12:21:15.760" v="5307" actId="13926"/>
          <ac:spMkLst>
            <pc:docMk/>
            <pc:sldMk cId="2008759033" sldId="2147481522"/>
            <ac:spMk id="108" creationId="{3DF945DD-6A26-FDDA-972B-951792532F01}"/>
          </ac:spMkLst>
        </pc:spChg>
        <pc:grpChg chg="add del mod">
          <ac:chgData name="Faure, Didier" userId="791ba54c-1f49-4f2e-b537-01eab0413206" providerId="ADAL" clId="{5FA6CE73-62F5-4FEE-BBB5-7F1A9A603EA6}" dt="2025-02-13T12:35:57.963" v="1434" actId="478"/>
          <ac:grpSpMkLst>
            <pc:docMk/>
            <pc:sldMk cId="2008759033" sldId="2147481522"/>
            <ac:grpSpMk id="19" creationId="{FD078E10-0CE3-B25F-4A0D-260145FBCA8D}"/>
          </ac:grpSpMkLst>
        </pc:grpChg>
        <pc:grpChg chg="add del mod">
          <ac:chgData name="Faure, Didier" userId="791ba54c-1f49-4f2e-b537-01eab0413206" providerId="ADAL" clId="{5FA6CE73-62F5-4FEE-BBB5-7F1A9A603EA6}" dt="2025-02-13T12:06:19.523" v="1197" actId="478"/>
          <ac:grpSpMkLst>
            <pc:docMk/>
            <pc:sldMk cId="2008759033" sldId="2147481522"/>
            <ac:grpSpMk id="34" creationId="{834E381A-8A26-A9CC-3E9F-A70534F9D271}"/>
          </ac:grpSpMkLst>
        </pc:grpChg>
        <pc:grpChg chg="add mod">
          <ac:chgData name="Faure, Didier" userId="791ba54c-1f49-4f2e-b537-01eab0413206" providerId="ADAL" clId="{5FA6CE73-62F5-4FEE-BBB5-7F1A9A603EA6}" dt="2025-02-13T09:48:01.654" v="596"/>
          <ac:grpSpMkLst>
            <pc:docMk/>
            <pc:sldMk cId="2008759033" sldId="2147481522"/>
            <ac:grpSpMk id="40" creationId="{2CF94971-5FC9-45CA-4814-B79D4C5BC1B5}"/>
          </ac:grpSpMkLst>
        </pc:grpChg>
        <pc:grpChg chg="del">
          <ac:chgData name="Faure, Didier" userId="791ba54c-1f49-4f2e-b537-01eab0413206" providerId="ADAL" clId="{5FA6CE73-62F5-4FEE-BBB5-7F1A9A603EA6}" dt="2025-02-13T09:47:47.434" v="595" actId="478"/>
          <ac:grpSpMkLst>
            <pc:docMk/>
            <pc:sldMk cId="2008759033" sldId="2147481522"/>
            <ac:grpSpMk id="49" creationId="{490ED495-63AE-8B1F-4398-41F98B2EF32B}"/>
          </ac:grpSpMkLst>
        </pc:grpChg>
        <pc:picChg chg="add del mod ord">
          <ac:chgData name="Faure, Didier" userId="791ba54c-1f49-4f2e-b537-01eab0413206" providerId="ADAL" clId="{5FA6CE73-62F5-4FEE-BBB5-7F1A9A603EA6}" dt="2025-02-14T12:22:01.598" v="5308" actId="478"/>
          <ac:picMkLst>
            <pc:docMk/>
            <pc:sldMk cId="2008759033" sldId="2147481522"/>
            <ac:picMk id="2" creationId="{4A2AE4AC-128A-611A-ADF9-FF5B392D0990}"/>
          </ac:picMkLst>
        </pc:picChg>
        <pc:picChg chg="add del mod ord">
          <ac:chgData name="Faure, Didier" userId="791ba54c-1f49-4f2e-b537-01eab0413206" providerId="ADAL" clId="{5FA6CE73-62F5-4FEE-BBB5-7F1A9A603EA6}" dt="2025-02-14T12:19:06.153" v="5292" actId="1035"/>
          <ac:picMkLst>
            <pc:docMk/>
            <pc:sldMk cId="2008759033" sldId="2147481522"/>
            <ac:picMk id="3" creationId="{D572D3C7-9B82-954A-7311-CE63F07AE0FC}"/>
          </ac:picMkLst>
        </pc:picChg>
        <pc:picChg chg="add del mod ord">
          <ac:chgData name="Faure, Didier" userId="791ba54c-1f49-4f2e-b537-01eab0413206" providerId="ADAL" clId="{5FA6CE73-62F5-4FEE-BBB5-7F1A9A603EA6}" dt="2025-02-14T12:19:06.153" v="5292" actId="1035"/>
          <ac:picMkLst>
            <pc:docMk/>
            <pc:sldMk cId="2008759033" sldId="2147481522"/>
            <ac:picMk id="4" creationId="{38399151-22B6-4FF1-C7EC-E4A83427DAF8}"/>
          </ac:picMkLst>
        </pc:picChg>
        <pc:picChg chg="del mod">
          <ac:chgData name="Faure, Didier" userId="791ba54c-1f49-4f2e-b537-01eab0413206" providerId="ADAL" clId="{5FA6CE73-62F5-4FEE-BBB5-7F1A9A603EA6}" dt="2025-02-13T09:22:28.785" v="410" actId="478"/>
          <ac:picMkLst>
            <pc:docMk/>
            <pc:sldMk cId="2008759033" sldId="2147481522"/>
            <ac:picMk id="5" creationId="{751666E2-A4F0-CFD3-04D2-11341CA2C55C}"/>
          </ac:picMkLst>
        </pc:picChg>
        <pc:picChg chg="del mod">
          <ac:chgData name="Faure, Didier" userId="791ba54c-1f49-4f2e-b537-01eab0413206" providerId="ADAL" clId="{5FA6CE73-62F5-4FEE-BBB5-7F1A9A603EA6}" dt="2025-02-13T12:05:47.985" v="1191" actId="478"/>
          <ac:picMkLst>
            <pc:docMk/>
            <pc:sldMk cId="2008759033" sldId="2147481522"/>
            <ac:picMk id="6" creationId="{20632B83-857F-7C75-7512-F46DA13C0CCE}"/>
          </ac:picMkLst>
        </pc:picChg>
        <pc:picChg chg="add mod">
          <ac:chgData name="Faure, Didier" userId="791ba54c-1f49-4f2e-b537-01eab0413206" providerId="ADAL" clId="{5FA6CE73-62F5-4FEE-BBB5-7F1A9A603EA6}" dt="2025-02-14T12:20:13.510" v="5301" actId="14100"/>
          <ac:picMkLst>
            <pc:docMk/>
            <pc:sldMk cId="2008759033" sldId="2147481522"/>
            <ac:picMk id="6" creationId="{47243D85-E077-F963-707E-923E2DACE2C3}"/>
          </ac:picMkLst>
        </pc:picChg>
        <pc:picChg chg="add del mod">
          <ac:chgData name="Faure, Didier" userId="791ba54c-1f49-4f2e-b537-01eab0413206" providerId="ADAL" clId="{5FA6CE73-62F5-4FEE-BBB5-7F1A9A603EA6}" dt="2025-02-13T12:06:19.523" v="1197" actId="478"/>
          <ac:picMkLst>
            <pc:docMk/>
            <pc:sldMk cId="2008759033" sldId="2147481522"/>
            <ac:picMk id="8" creationId="{EF3282DE-01A3-7CD7-3A6A-F65C9789DDAB}"/>
          </ac:picMkLst>
        </pc:picChg>
        <pc:picChg chg="add del">
          <ac:chgData name="Faure, Didier" userId="791ba54c-1f49-4f2e-b537-01eab0413206" providerId="ADAL" clId="{5FA6CE73-62F5-4FEE-BBB5-7F1A9A603EA6}" dt="2025-02-13T08:44:46.871" v="336" actId="478"/>
          <ac:picMkLst>
            <pc:docMk/>
            <pc:sldMk cId="2008759033" sldId="2147481522"/>
            <ac:picMk id="12" creationId="{1407F271-967F-37B1-DE15-73866C0BB379}"/>
          </ac:picMkLst>
        </pc:picChg>
        <pc:picChg chg="add del mod">
          <ac:chgData name="Faure, Didier" userId="791ba54c-1f49-4f2e-b537-01eab0413206" providerId="ADAL" clId="{5FA6CE73-62F5-4FEE-BBB5-7F1A9A603EA6}" dt="2025-02-13T09:23:37.487" v="415" actId="478"/>
          <ac:picMkLst>
            <pc:docMk/>
            <pc:sldMk cId="2008759033" sldId="2147481522"/>
            <ac:picMk id="14" creationId="{BA70A693-18DF-3861-3416-1907636C055C}"/>
          </ac:picMkLst>
        </pc:picChg>
        <pc:picChg chg="add del mod">
          <ac:chgData name="Faure, Didier" userId="791ba54c-1f49-4f2e-b537-01eab0413206" providerId="ADAL" clId="{5FA6CE73-62F5-4FEE-BBB5-7F1A9A603EA6}" dt="2025-02-13T09:23:38.525" v="416" actId="478"/>
          <ac:picMkLst>
            <pc:docMk/>
            <pc:sldMk cId="2008759033" sldId="2147481522"/>
            <ac:picMk id="16" creationId="{C55938DE-2A12-1BA7-95C4-476C0F9B48A5}"/>
          </ac:picMkLst>
        </pc:picChg>
        <pc:picChg chg="add del mod">
          <ac:chgData name="Faure, Didier" userId="791ba54c-1f49-4f2e-b537-01eab0413206" providerId="ADAL" clId="{5FA6CE73-62F5-4FEE-BBB5-7F1A9A603EA6}" dt="2025-02-13T09:23:39.565" v="417" actId="478"/>
          <ac:picMkLst>
            <pc:docMk/>
            <pc:sldMk cId="2008759033" sldId="2147481522"/>
            <ac:picMk id="18" creationId="{0FA504F6-C765-2146-144E-B814B90E7CEC}"/>
          </ac:picMkLst>
        </pc:picChg>
        <pc:picChg chg="add del mod">
          <ac:chgData name="Faure, Didier" userId="791ba54c-1f49-4f2e-b537-01eab0413206" providerId="ADAL" clId="{5FA6CE73-62F5-4FEE-BBB5-7F1A9A603EA6}" dt="2025-02-13T09:22:33.923" v="412" actId="478"/>
          <ac:picMkLst>
            <pc:docMk/>
            <pc:sldMk cId="2008759033" sldId="2147481522"/>
            <ac:picMk id="31" creationId="{7CF68A24-1862-6718-AC65-5BB784C249DE}"/>
          </ac:picMkLst>
        </pc:picChg>
        <pc:picChg chg="add del mod">
          <ac:chgData name="Faure, Didier" userId="791ba54c-1f49-4f2e-b537-01eab0413206" providerId="ADAL" clId="{5FA6CE73-62F5-4FEE-BBB5-7F1A9A603EA6}" dt="2025-02-13T09:21:46.781" v="408" actId="478"/>
          <ac:picMkLst>
            <pc:docMk/>
            <pc:sldMk cId="2008759033" sldId="2147481522"/>
            <ac:picMk id="32" creationId="{ED88B63F-9ABD-B941-F432-AE38AD83D248}"/>
          </ac:picMkLst>
        </pc:picChg>
        <pc:picChg chg="add del mod">
          <ac:chgData name="Faure, Didier" userId="791ba54c-1f49-4f2e-b537-01eab0413206" providerId="ADAL" clId="{5FA6CE73-62F5-4FEE-BBB5-7F1A9A603EA6}" dt="2025-02-13T09:22:33.923" v="412" actId="478"/>
          <ac:picMkLst>
            <pc:docMk/>
            <pc:sldMk cId="2008759033" sldId="2147481522"/>
            <ac:picMk id="33" creationId="{114A6D16-3548-A75C-C5C6-5EEAC210281C}"/>
          </ac:picMkLst>
        </pc:picChg>
        <pc:picChg chg="mod">
          <ac:chgData name="Faure, Didier" userId="791ba54c-1f49-4f2e-b537-01eab0413206" providerId="ADAL" clId="{5FA6CE73-62F5-4FEE-BBB5-7F1A9A603EA6}" dt="2025-02-13T09:48:01.654" v="596"/>
          <ac:picMkLst>
            <pc:docMk/>
            <pc:sldMk cId="2008759033" sldId="2147481522"/>
            <ac:picMk id="41" creationId="{742E7311-7CC3-A9DA-0083-7FA0784DCAC7}"/>
          </ac:picMkLst>
        </pc:picChg>
        <pc:picChg chg="mod">
          <ac:chgData name="Faure, Didier" userId="791ba54c-1f49-4f2e-b537-01eab0413206" providerId="ADAL" clId="{5FA6CE73-62F5-4FEE-BBB5-7F1A9A603EA6}" dt="2025-02-13T09:48:01.654" v="596"/>
          <ac:picMkLst>
            <pc:docMk/>
            <pc:sldMk cId="2008759033" sldId="2147481522"/>
            <ac:picMk id="42" creationId="{3BCF0FC5-11B2-0B3E-EA0D-B9C42430173A}"/>
          </ac:picMkLst>
        </pc:picChg>
        <pc:picChg chg="add mod">
          <ac:chgData name="Faure, Didier" userId="791ba54c-1f49-4f2e-b537-01eab0413206" providerId="ADAL" clId="{5FA6CE73-62F5-4FEE-BBB5-7F1A9A603EA6}" dt="2025-02-13T09:48:01.654" v="596"/>
          <ac:picMkLst>
            <pc:docMk/>
            <pc:sldMk cId="2008759033" sldId="2147481522"/>
            <ac:picMk id="79" creationId="{F5005602-51B9-278E-DE12-2D092C9BF346}"/>
          </ac:picMkLst>
        </pc:picChg>
        <pc:picChg chg="del">
          <ac:chgData name="Faure, Didier" userId="791ba54c-1f49-4f2e-b537-01eab0413206" providerId="ADAL" clId="{5FA6CE73-62F5-4FEE-BBB5-7F1A9A603EA6}" dt="2025-02-13T09:47:47.434" v="595" actId="478"/>
          <ac:picMkLst>
            <pc:docMk/>
            <pc:sldMk cId="2008759033" sldId="2147481522"/>
            <ac:picMk id="84" creationId="{2FEC2C91-A539-9968-6BD5-85395EF9AD4A}"/>
          </ac:picMkLst>
        </pc:picChg>
        <pc:picChg chg="add mod">
          <ac:chgData name="Faure, Didier" userId="791ba54c-1f49-4f2e-b537-01eab0413206" providerId="ADAL" clId="{5FA6CE73-62F5-4FEE-BBB5-7F1A9A603EA6}" dt="2025-02-13T12:33:13.925" v="1405" actId="1076"/>
          <ac:picMkLst>
            <pc:docMk/>
            <pc:sldMk cId="2008759033" sldId="2147481522"/>
            <ac:picMk id="91" creationId="{96B493DE-689F-AF0D-DC51-7D47062CB967}"/>
          </ac:picMkLst>
        </pc:picChg>
        <pc:picChg chg="add mod">
          <ac:chgData name="Faure, Didier" userId="791ba54c-1f49-4f2e-b537-01eab0413206" providerId="ADAL" clId="{5FA6CE73-62F5-4FEE-BBB5-7F1A9A603EA6}" dt="2025-02-13T12:34:37.710" v="1417" actId="14100"/>
          <ac:picMkLst>
            <pc:docMk/>
            <pc:sldMk cId="2008759033" sldId="2147481522"/>
            <ac:picMk id="93" creationId="{E7F9BE58-1F7B-9F4D-6889-23677486F616}"/>
          </ac:picMkLst>
        </pc:picChg>
        <pc:picChg chg="add mod">
          <ac:chgData name="Faure, Didier" userId="791ba54c-1f49-4f2e-b537-01eab0413206" providerId="ADAL" clId="{5FA6CE73-62F5-4FEE-BBB5-7F1A9A603EA6}" dt="2025-02-13T12:29:39.717" v="1342" actId="14100"/>
          <ac:picMkLst>
            <pc:docMk/>
            <pc:sldMk cId="2008759033" sldId="2147481522"/>
            <ac:picMk id="95" creationId="{0E9013B3-3CCD-02D3-69D3-0A9A9C5975E2}"/>
          </ac:picMkLst>
        </pc:picChg>
        <pc:picChg chg="add del mod">
          <ac:chgData name="Faure, Didier" userId="791ba54c-1f49-4f2e-b537-01eab0413206" providerId="ADAL" clId="{5FA6CE73-62F5-4FEE-BBB5-7F1A9A603EA6}" dt="2025-02-13T12:44:33.409" v="1437" actId="478"/>
          <ac:picMkLst>
            <pc:docMk/>
            <pc:sldMk cId="2008759033" sldId="2147481522"/>
            <ac:picMk id="97" creationId="{E10AC933-855E-D2D2-CDF9-DA9E3D017561}"/>
          </ac:picMkLst>
        </pc:picChg>
        <pc:picChg chg="add mod">
          <ac:chgData name="Faure, Didier" userId="791ba54c-1f49-4f2e-b537-01eab0413206" providerId="ADAL" clId="{5FA6CE73-62F5-4FEE-BBB5-7F1A9A603EA6}" dt="2025-02-14T12:19:06.153" v="5292" actId="1035"/>
          <ac:picMkLst>
            <pc:docMk/>
            <pc:sldMk cId="2008759033" sldId="2147481522"/>
            <ac:picMk id="106" creationId="{21C43BD9-43BE-1AF7-FD5C-814E0A3732FC}"/>
          </ac:picMkLst>
        </pc:picChg>
        <pc:cxnChg chg="add del mod ord">
          <ac:chgData name="Faure, Didier" userId="791ba54c-1f49-4f2e-b537-01eab0413206" providerId="ADAL" clId="{5FA6CE73-62F5-4FEE-BBB5-7F1A9A603EA6}" dt="2025-02-14T12:19:27.949" v="5296" actId="1076"/>
          <ac:cxnSpMkLst>
            <pc:docMk/>
            <pc:sldMk cId="2008759033" sldId="2147481522"/>
            <ac:cxnSpMk id="23" creationId="{1CB608FE-DBA3-F5D5-D50A-D5419D7D6286}"/>
          </ac:cxnSpMkLst>
        </pc:cxnChg>
        <pc:cxnChg chg="add del mod ord">
          <ac:chgData name="Faure, Didier" userId="791ba54c-1f49-4f2e-b537-01eab0413206" providerId="ADAL" clId="{5FA6CE73-62F5-4FEE-BBB5-7F1A9A603EA6}" dt="2025-02-14T12:19:43.140" v="5298" actId="1076"/>
          <ac:cxnSpMkLst>
            <pc:docMk/>
            <pc:sldMk cId="2008759033" sldId="2147481522"/>
            <ac:cxnSpMk id="24" creationId="{924F3A96-61EE-B743-33C0-553E26ACFA52}"/>
          </ac:cxnSpMkLst>
        </pc:cxnChg>
        <pc:cxnChg chg="add del mod">
          <ac:chgData name="Faure, Didier" userId="791ba54c-1f49-4f2e-b537-01eab0413206" providerId="ADAL" clId="{5FA6CE73-62F5-4FEE-BBB5-7F1A9A603EA6}" dt="2025-02-13T09:22:33.923" v="412" actId="478"/>
          <ac:cxnSpMkLst>
            <pc:docMk/>
            <pc:sldMk cId="2008759033" sldId="2147481522"/>
            <ac:cxnSpMk id="37" creationId="{A63CDCF6-E64F-CBEC-8935-51B00BACC290}"/>
          </ac:cxnSpMkLst>
        </pc:cxnChg>
        <pc:cxnChg chg="add del mod">
          <ac:chgData name="Faure, Didier" userId="791ba54c-1f49-4f2e-b537-01eab0413206" providerId="ADAL" clId="{5FA6CE73-62F5-4FEE-BBB5-7F1A9A603EA6}" dt="2025-02-13T09:22:33.923" v="412" actId="478"/>
          <ac:cxnSpMkLst>
            <pc:docMk/>
            <pc:sldMk cId="2008759033" sldId="2147481522"/>
            <ac:cxnSpMk id="38" creationId="{751350E6-C1BC-3E15-D5F6-2812BC4E0284}"/>
          </ac:cxnSpMkLst>
        </pc:cxnChg>
        <pc:cxnChg chg="add mod">
          <ac:chgData name="Faure, Didier" userId="791ba54c-1f49-4f2e-b537-01eab0413206" providerId="ADAL" clId="{5FA6CE73-62F5-4FEE-BBB5-7F1A9A603EA6}" dt="2025-02-13T12:34:09.422" v="1413" actId="208"/>
          <ac:cxnSpMkLst>
            <pc:docMk/>
            <pc:sldMk cId="2008759033" sldId="2147481522"/>
            <ac:cxnSpMk id="102" creationId="{58F56D68-61AA-36EA-CAEC-B03B82975480}"/>
          </ac:cxnSpMkLst>
        </pc:cxnChg>
      </pc:sldChg>
      <pc:sldChg chg="delSp del mod">
        <pc:chgData name="Faure, Didier" userId="791ba54c-1f49-4f2e-b537-01eab0413206" providerId="ADAL" clId="{5FA6CE73-62F5-4FEE-BBB5-7F1A9A603EA6}" dt="2025-02-14T08:05:56.508" v="4034" actId="47"/>
        <pc:sldMkLst>
          <pc:docMk/>
          <pc:sldMk cId="3216977812" sldId="2147481523"/>
        </pc:sldMkLst>
        <pc:spChg chg="del">
          <ac:chgData name="Faure, Didier" userId="791ba54c-1f49-4f2e-b537-01eab0413206" providerId="ADAL" clId="{5FA6CE73-62F5-4FEE-BBB5-7F1A9A603EA6}" dt="2025-02-13T18:23:08.431" v="3603" actId="478"/>
          <ac:spMkLst>
            <pc:docMk/>
            <pc:sldMk cId="3216977812" sldId="2147481523"/>
            <ac:spMk id="11" creationId="{DFB2B26E-87E2-49A2-9B62-101EC7A81794}"/>
          </ac:spMkLst>
        </pc:spChg>
      </pc:sldChg>
      <pc:sldChg chg="addSp delSp modSp add del mod">
        <pc:chgData name="Faure, Didier" userId="791ba54c-1f49-4f2e-b537-01eab0413206" providerId="ADAL" clId="{5FA6CE73-62F5-4FEE-BBB5-7F1A9A603EA6}" dt="2025-02-13T17:02:35.904" v="2657" actId="47"/>
        <pc:sldMkLst>
          <pc:docMk/>
          <pc:sldMk cId="3626899443" sldId="2147481524"/>
        </pc:sldMkLst>
        <pc:picChg chg="add del mod">
          <ac:chgData name="Faure, Didier" userId="791ba54c-1f49-4f2e-b537-01eab0413206" providerId="ADAL" clId="{5FA6CE73-62F5-4FEE-BBB5-7F1A9A603EA6}" dt="2025-02-13T13:22:31.963" v="1546" actId="478"/>
          <ac:picMkLst>
            <pc:docMk/>
            <pc:sldMk cId="3626899443" sldId="2147481524"/>
            <ac:picMk id="7" creationId="{32E7923E-F8B3-2943-CFE0-6E99DA22018B}"/>
          </ac:picMkLst>
        </pc:picChg>
        <pc:picChg chg="mod">
          <ac:chgData name="Faure, Didier" userId="791ba54c-1f49-4f2e-b537-01eab0413206" providerId="ADAL" clId="{5FA6CE73-62F5-4FEE-BBB5-7F1A9A603EA6}" dt="2025-02-13T17:01:21.442" v="2645" actId="1076"/>
          <ac:picMkLst>
            <pc:docMk/>
            <pc:sldMk cId="3626899443" sldId="2147481524"/>
            <ac:picMk id="18" creationId="{0FA504F6-C765-2146-144E-B814B90E7CEC}"/>
          </ac:picMkLst>
        </pc:picChg>
      </pc:sldChg>
      <pc:sldChg chg="addSp delSp modSp add mod">
        <pc:chgData name="Faure, Didier" userId="791ba54c-1f49-4f2e-b537-01eab0413206" providerId="ADAL" clId="{5FA6CE73-62F5-4FEE-BBB5-7F1A9A603EA6}" dt="2025-02-13T16:54:44.687" v="2547" actId="20577"/>
        <pc:sldMkLst>
          <pc:docMk/>
          <pc:sldMk cId="505702371" sldId="2147481525"/>
        </pc:sldMkLst>
        <pc:spChg chg="add mod">
          <ac:chgData name="Faure, Didier" userId="791ba54c-1f49-4f2e-b537-01eab0413206" providerId="ADAL" clId="{5FA6CE73-62F5-4FEE-BBB5-7F1A9A603EA6}" dt="2025-02-13T16:30:48.141" v="2111" actId="1076"/>
          <ac:spMkLst>
            <pc:docMk/>
            <pc:sldMk cId="505702371" sldId="2147481525"/>
            <ac:spMk id="11" creationId="{039EFA86-278A-78E8-306B-2B493FA05220}"/>
          </ac:spMkLst>
        </pc:spChg>
        <pc:spChg chg="mod ord">
          <ac:chgData name="Faure, Didier" userId="791ba54c-1f49-4f2e-b537-01eab0413206" providerId="ADAL" clId="{5FA6CE73-62F5-4FEE-BBB5-7F1A9A603EA6}" dt="2025-02-13T16:32:35.966" v="2129" actId="1076"/>
          <ac:spMkLst>
            <pc:docMk/>
            <pc:sldMk cId="505702371" sldId="2147481525"/>
            <ac:spMk id="29" creationId="{A065D1BD-6027-BCDF-B4CB-20E46A0DA95F}"/>
          </ac:spMkLst>
        </pc:spChg>
        <pc:spChg chg="mod">
          <ac:chgData name="Faure, Didier" userId="791ba54c-1f49-4f2e-b537-01eab0413206" providerId="ADAL" clId="{5FA6CE73-62F5-4FEE-BBB5-7F1A9A603EA6}" dt="2025-02-13T15:54:01.106" v="2014" actId="20577"/>
          <ac:spMkLst>
            <pc:docMk/>
            <pc:sldMk cId="505702371" sldId="2147481525"/>
            <ac:spMk id="43" creationId="{1F7E0432-1F21-8AC7-7570-37C7A60BDDC9}"/>
          </ac:spMkLst>
        </pc:spChg>
        <pc:spChg chg="mod">
          <ac:chgData name="Faure, Didier" userId="791ba54c-1f49-4f2e-b537-01eab0413206" providerId="ADAL" clId="{5FA6CE73-62F5-4FEE-BBB5-7F1A9A603EA6}" dt="2025-02-13T15:17:26.796" v="1565" actId="14100"/>
          <ac:spMkLst>
            <pc:docMk/>
            <pc:sldMk cId="505702371" sldId="2147481525"/>
            <ac:spMk id="45" creationId="{462D28B0-096D-D35E-8480-2F192B64945A}"/>
          </ac:spMkLst>
        </pc:spChg>
        <pc:spChg chg="mod">
          <ac:chgData name="Faure, Didier" userId="791ba54c-1f49-4f2e-b537-01eab0413206" providerId="ADAL" clId="{5FA6CE73-62F5-4FEE-BBB5-7F1A9A603EA6}" dt="2025-02-13T16:54:44.687" v="2547" actId="20577"/>
          <ac:spMkLst>
            <pc:docMk/>
            <pc:sldMk cId="505702371" sldId="2147481525"/>
            <ac:spMk id="52" creationId="{2D983DB6-86B6-2BF3-FCC8-46E7B8EBA5A3}"/>
          </ac:spMkLst>
        </pc:spChg>
        <pc:spChg chg="mod">
          <ac:chgData name="Faure, Didier" userId="791ba54c-1f49-4f2e-b537-01eab0413206" providerId="ADAL" clId="{5FA6CE73-62F5-4FEE-BBB5-7F1A9A603EA6}" dt="2025-02-13T16:46:41.568" v="2395" actId="6549"/>
          <ac:spMkLst>
            <pc:docMk/>
            <pc:sldMk cId="505702371" sldId="2147481525"/>
            <ac:spMk id="58" creationId="{F00B6BB3-A3E3-CA84-7476-821AFB2B3491}"/>
          </ac:spMkLst>
        </pc:spChg>
        <pc:spChg chg="mod">
          <ac:chgData name="Faure, Didier" userId="791ba54c-1f49-4f2e-b537-01eab0413206" providerId="ADAL" clId="{5FA6CE73-62F5-4FEE-BBB5-7F1A9A603EA6}" dt="2025-02-13T16:45:33.949" v="2291" actId="20577"/>
          <ac:spMkLst>
            <pc:docMk/>
            <pc:sldMk cId="505702371" sldId="2147481525"/>
            <ac:spMk id="60" creationId="{25E502BD-5210-E88A-3E4F-EC45F2B1D2B3}"/>
          </ac:spMkLst>
        </pc:spChg>
        <pc:spChg chg="mod">
          <ac:chgData name="Faure, Didier" userId="791ba54c-1f49-4f2e-b537-01eab0413206" providerId="ADAL" clId="{5FA6CE73-62F5-4FEE-BBB5-7F1A9A603EA6}" dt="2025-02-13T12:49:35.913" v="1540" actId="20577"/>
          <ac:spMkLst>
            <pc:docMk/>
            <pc:sldMk cId="505702371" sldId="2147481525"/>
            <ac:spMk id="62" creationId="{C8150B97-541C-BC17-A789-56F8312ED4DB}"/>
          </ac:spMkLst>
        </pc:spChg>
        <pc:spChg chg="mod">
          <ac:chgData name="Faure, Didier" userId="791ba54c-1f49-4f2e-b537-01eab0413206" providerId="ADAL" clId="{5FA6CE73-62F5-4FEE-BBB5-7F1A9A603EA6}" dt="2025-02-13T15:42:27.651" v="1764" actId="20577"/>
          <ac:spMkLst>
            <pc:docMk/>
            <pc:sldMk cId="505702371" sldId="2147481525"/>
            <ac:spMk id="71" creationId="{E5A51C88-46E7-2DD5-2451-679ADCAD5F63}"/>
          </ac:spMkLst>
        </pc:spChg>
        <pc:spChg chg="mod">
          <ac:chgData name="Faure, Didier" userId="791ba54c-1f49-4f2e-b537-01eab0413206" providerId="ADAL" clId="{5FA6CE73-62F5-4FEE-BBB5-7F1A9A603EA6}" dt="2025-02-13T16:45:40.321" v="2308" actId="1035"/>
          <ac:spMkLst>
            <pc:docMk/>
            <pc:sldMk cId="505702371" sldId="2147481525"/>
            <ac:spMk id="87" creationId="{F110D102-BD5E-9619-CCFF-2290AD9A75EF}"/>
          </ac:spMkLst>
        </pc:spChg>
        <pc:spChg chg="mod">
          <ac:chgData name="Faure, Didier" userId="791ba54c-1f49-4f2e-b537-01eab0413206" providerId="ADAL" clId="{5FA6CE73-62F5-4FEE-BBB5-7F1A9A603EA6}" dt="2025-02-13T16:45:40.321" v="2308" actId="1035"/>
          <ac:spMkLst>
            <pc:docMk/>
            <pc:sldMk cId="505702371" sldId="2147481525"/>
            <ac:spMk id="88" creationId="{0AC04F7A-116D-9718-E0D5-CF1F089A2952}"/>
          </ac:spMkLst>
        </pc:spChg>
        <pc:spChg chg="mod">
          <ac:chgData name="Faure, Didier" userId="791ba54c-1f49-4f2e-b537-01eab0413206" providerId="ADAL" clId="{5FA6CE73-62F5-4FEE-BBB5-7F1A9A603EA6}" dt="2025-02-13T15:19:32.893" v="1584" actId="1076"/>
          <ac:spMkLst>
            <pc:docMk/>
            <pc:sldMk cId="505702371" sldId="2147481525"/>
            <ac:spMk id="98" creationId="{3D225CB2-630E-D23E-0957-A27BB2552B1C}"/>
          </ac:spMkLst>
        </pc:spChg>
        <pc:spChg chg="mod">
          <ac:chgData name="Faure, Didier" userId="791ba54c-1f49-4f2e-b537-01eab0413206" providerId="ADAL" clId="{5FA6CE73-62F5-4FEE-BBB5-7F1A9A603EA6}" dt="2025-02-13T15:19:18.204" v="1581" actId="1076"/>
          <ac:spMkLst>
            <pc:docMk/>
            <pc:sldMk cId="505702371" sldId="2147481525"/>
            <ac:spMk id="99" creationId="{031ED419-5B19-3F0B-5703-0892586118A3}"/>
          </ac:spMkLst>
        </pc:spChg>
        <pc:spChg chg="del mod">
          <ac:chgData name="Faure, Didier" userId="791ba54c-1f49-4f2e-b537-01eab0413206" providerId="ADAL" clId="{5FA6CE73-62F5-4FEE-BBB5-7F1A9A603EA6}" dt="2025-02-13T15:19:56.823" v="1587" actId="478"/>
          <ac:spMkLst>
            <pc:docMk/>
            <pc:sldMk cId="505702371" sldId="2147481525"/>
            <ac:spMk id="100" creationId="{15343C28-D3EB-C214-5F63-B0CC526596F4}"/>
          </ac:spMkLst>
        </pc:spChg>
        <pc:spChg chg="mod">
          <ac:chgData name="Faure, Didier" userId="791ba54c-1f49-4f2e-b537-01eab0413206" providerId="ADAL" clId="{5FA6CE73-62F5-4FEE-BBB5-7F1A9A603EA6}" dt="2025-02-13T16:33:27.869" v="2133" actId="1076"/>
          <ac:spMkLst>
            <pc:docMk/>
            <pc:sldMk cId="505702371" sldId="2147481525"/>
            <ac:spMk id="104" creationId="{A8E9D213-08D9-E160-393C-B6ECD02B0C57}"/>
          </ac:spMkLst>
        </pc:spChg>
        <pc:spChg chg="mod">
          <ac:chgData name="Faure, Didier" userId="791ba54c-1f49-4f2e-b537-01eab0413206" providerId="ADAL" clId="{5FA6CE73-62F5-4FEE-BBB5-7F1A9A603EA6}" dt="2025-02-13T16:33:35.781" v="2135" actId="1076"/>
          <ac:spMkLst>
            <pc:docMk/>
            <pc:sldMk cId="505702371" sldId="2147481525"/>
            <ac:spMk id="105" creationId="{A5F24B8D-D73D-7670-AA77-078D814C49CD}"/>
          </ac:spMkLst>
        </pc:spChg>
        <pc:spChg chg="del">
          <ac:chgData name="Faure, Didier" userId="791ba54c-1f49-4f2e-b537-01eab0413206" providerId="ADAL" clId="{5FA6CE73-62F5-4FEE-BBB5-7F1A9A603EA6}" dt="2025-02-13T16:30:29.694" v="2108" actId="478"/>
          <ac:spMkLst>
            <pc:docMk/>
            <pc:sldMk cId="505702371" sldId="2147481525"/>
            <ac:spMk id="107" creationId="{BF9AC984-E943-0C69-3FE9-40B010E39B48}"/>
          </ac:spMkLst>
        </pc:spChg>
        <pc:spChg chg="mod">
          <ac:chgData name="Faure, Didier" userId="791ba54c-1f49-4f2e-b537-01eab0413206" providerId="ADAL" clId="{5FA6CE73-62F5-4FEE-BBB5-7F1A9A603EA6}" dt="2025-02-13T16:33:43.229" v="2137" actId="20577"/>
          <ac:spMkLst>
            <pc:docMk/>
            <pc:sldMk cId="505702371" sldId="2147481525"/>
            <ac:spMk id="108" creationId="{3DF945DD-6A26-FDDA-972B-951792532F01}"/>
          </ac:spMkLst>
        </pc:spChg>
        <pc:picChg chg="del">
          <ac:chgData name="Faure, Didier" userId="791ba54c-1f49-4f2e-b537-01eab0413206" providerId="ADAL" clId="{5FA6CE73-62F5-4FEE-BBB5-7F1A9A603EA6}" dt="2025-02-13T13:23:07.263" v="1550" actId="478"/>
          <ac:picMkLst>
            <pc:docMk/>
            <pc:sldMk cId="505702371" sldId="2147481525"/>
            <ac:picMk id="2" creationId="{4A2AE4AC-128A-611A-ADF9-FF5B392D0990}"/>
          </ac:picMkLst>
        </pc:picChg>
        <pc:picChg chg="del">
          <ac:chgData name="Faure, Didier" userId="791ba54c-1f49-4f2e-b537-01eab0413206" providerId="ADAL" clId="{5FA6CE73-62F5-4FEE-BBB5-7F1A9A603EA6}" dt="2025-02-13T13:23:23.818" v="1552" actId="478"/>
          <ac:picMkLst>
            <pc:docMk/>
            <pc:sldMk cId="505702371" sldId="2147481525"/>
            <ac:picMk id="3" creationId="{D572D3C7-9B82-954A-7311-CE63F07AE0FC}"/>
          </ac:picMkLst>
        </pc:picChg>
        <pc:picChg chg="mod">
          <ac:chgData name="Faure, Didier" userId="791ba54c-1f49-4f2e-b537-01eab0413206" providerId="ADAL" clId="{5FA6CE73-62F5-4FEE-BBB5-7F1A9A603EA6}" dt="2025-02-13T16:34:49.582" v="2148" actId="1076"/>
          <ac:picMkLst>
            <pc:docMk/>
            <pc:sldMk cId="505702371" sldId="2147481525"/>
            <ac:picMk id="4" creationId="{38399151-22B6-4FF1-C7EC-E4A83427DAF8}"/>
          </ac:picMkLst>
        </pc:picChg>
        <pc:picChg chg="add mod ord">
          <ac:chgData name="Faure, Didier" userId="791ba54c-1f49-4f2e-b537-01eab0413206" providerId="ADAL" clId="{5FA6CE73-62F5-4FEE-BBB5-7F1A9A603EA6}" dt="2025-02-13T16:30:44.533" v="2110" actId="1076"/>
          <ac:picMkLst>
            <pc:docMk/>
            <pc:sldMk cId="505702371" sldId="2147481525"/>
            <ac:picMk id="5" creationId="{3CE886F4-6E72-1447-EB94-48AFB9A4F38E}"/>
          </ac:picMkLst>
        </pc:picChg>
        <pc:picChg chg="add mod">
          <ac:chgData name="Faure, Didier" userId="791ba54c-1f49-4f2e-b537-01eab0413206" providerId="ADAL" clId="{5FA6CE73-62F5-4FEE-BBB5-7F1A9A603EA6}" dt="2025-02-13T16:34:40.645" v="2147" actId="1076"/>
          <ac:picMkLst>
            <pc:docMk/>
            <pc:sldMk cId="505702371" sldId="2147481525"/>
            <ac:picMk id="6" creationId="{E6DDE1CC-EEF1-6F0F-59AB-49BD9B64CAD0}"/>
          </ac:picMkLst>
        </pc:picChg>
        <pc:picChg chg="add mod">
          <ac:chgData name="Faure, Didier" userId="791ba54c-1f49-4f2e-b537-01eab0413206" providerId="ADAL" clId="{5FA6CE73-62F5-4FEE-BBB5-7F1A9A603EA6}" dt="2025-02-13T16:06:42.533" v="2100" actId="1076"/>
          <ac:picMkLst>
            <pc:docMk/>
            <pc:sldMk cId="505702371" sldId="2147481525"/>
            <ac:picMk id="8" creationId="{F28D8320-E50E-DE4E-77AB-AEC4737FF4D4}"/>
          </ac:picMkLst>
        </pc:picChg>
        <pc:picChg chg="add mod">
          <ac:chgData name="Faure, Didier" userId="791ba54c-1f49-4f2e-b537-01eab0413206" providerId="ADAL" clId="{5FA6CE73-62F5-4FEE-BBB5-7F1A9A603EA6}" dt="2025-02-13T16:15:34.673" v="2106" actId="1076"/>
          <ac:picMkLst>
            <pc:docMk/>
            <pc:sldMk cId="505702371" sldId="2147481525"/>
            <ac:picMk id="10" creationId="{9E73823E-D647-4C34-96E8-1D8E6C29BFEE}"/>
          </ac:picMkLst>
        </pc:picChg>
        <pc:picChg chg="add mod">
          <ac:chgData name="Faure, Didier" userId="791ba54c-1f49-4f2e-b537-01eab0413206" providerId="ADAL" clId="{5FA6CE73-62F5-4FEE-BBB5-7F1A9A603EA6}" dt="2025-02-13T16:32:25.413" v="2128" actId="14100"/>
          <ac:picMkLst>
            <pc:docMk/>
            <pc:sldMk cId="505702371" sldId="2147481525"/>
            <ac:picMk id="18" creationId="{CAA5250E-6BEF-F546-41FE-FCE812ABAAC7}"/>
          </ac:picMkLst>
        </pc:picChg>
        <pc:picChg chg="add mod">
          <ac:chgData name="Faure, Didier" userId="791ba54c-1f49-4f2e-b537-01eab0413206" providerId="ADAL" clId="{5FA6CE73-62F5-4FEE-BBB5-7F1A9A603EA6}" dt="2025-02-13T16:32:25.413" v="2128" actId="14100"/>
          <ac:picMkLst>
            <pc:docMk/>
            <pc:sldMk cId="505702371" sldId="2147481525"/>
            <ac:picMk id="20" creationId="{E4435977-5D16-54D0-897C-80B96EEA98C5}"/>
          </ac:picMkLst>
        </pc:picChg>
        <pc:picChg chg="add mod">
          <ac:chgData name="Faure, Didier" userId="791ba54c-1f49-4f2e-b537-01eab0413206" providerId="ADAL" clId="{5FA6CE73-62F5-4FEE-BBB5-7F1A9A603EA6}" dt="2025-02-13T16:31:51.661" v="2123" actId="1076"/>
          <ac:picMkLst>
            <pc:docMk/>
            <pc:sldMk cId="505702371" sldId="2147481525"/>
            <ac:picMk id="21" creationId="{ED3BDD89-14CA-E9E4-0CD6-585CB5929345}"/>
          </ac:picMkLst>
        </pc:picChg>
        <pc:picChg chg="del">
          <ac:chgData name="Faure, Didier" userId="791ba54c-1f49-4f2e-b537-01eab0413206" providerId="ADAL" clId="{5FA6CE73-62F5-4FEE-BBB5-7F1A9A603EA6}" dt="2025-02-13T12:49:54.969" v="1542" actId="478"/>
          <ac:picMkLst>
            <pc:docMk/>
            <pc:sldMk cId="505702371" sldId="2147481525"/>
            <ac:picMk id="91" creationId="{96B493DE-689F-AF0D-DC51-7D47062CB967}"/>
          </ac:picMkLst>
        </pc:picChg>
        <pc:picChg chg="mod">
          <ac:chgData name="Faure, Didier" userId="791ba54c-1f49-4f2e-b537-01eab0413206" providerId="ADAL" clId="{5FA6CE73-62F5-4FEE-BBB5-7F1A9A603EA6}" dt="2025-02-13T16:33:29.685" v="2134" actId="1076"/>
          <ac:picMkLst>
            <pc:docMk/>
            <pc:sldMk cId="505702371" sldId="2147481525"/>
            <ac:picMk id="93" creationId="{E7F9BE58-1F7B-9F4D-6889-23677486F616}"/>
          </ac:picMkLst>
        </pc:picChg>
        <pc:picChg chg="del">
          <ac:chgData name="Faure, Didier" userId="791ba54c-1f49-4f2e-b537-01eab0413206" providerId="ADAL" clId="{5FA6CE73-62F5-4FEE-BBB5-7F1A9A603EA6}" dt="2025-02-13T12:49:52.626" v="1541" actId="478"/>
          <ac:picMkLst>
            <pc:docMk/>
            <pc:sldMk cId="505702371" sldId="2147481525"/>
            <ac:picMk id="95" creationId="{0E9013B3-3CCD-02D3-69D3-0A9A9C5975E2}"/>
          </ac:picMkLst>
        </pc:picChg>
        <pc:picChg chg="del">
          <ac:chgData name="Faure, Didier" userId="791ba54c-1f49-4f2e-b537-01eab0413206" providerId="ADAL" clId="{5FA6CE73-62F5-4FEE-BBB5-7F1A9A603EA6}" dt="2025-02-13T12:50:07.265" v="1543" actId="478"/>
          <ac:picMkLst>
            <pc:docMk/>
            <pc:sldMk cId="505702371" sldId="2147481525"/>
            <ac:picMk id="106" creationId="{21C43BD9-43BE-1AF7-FD5C-814E0A3732FC}"/>
          </ac:picMkLst>
        </pc:picChg>
        <pc:cxnChg chg="add mod">
          <ac:chgData name="Faure, Didier" userId="791ba54c-1f49-4f2e-b537-01eab0413206" providerId="ADAL" clId="{5FA6CE73-62F5-4FEE-BBB5-7F1A9A603EA6}" dt="2025-02-13T16:31:01.078" v="2116" actId="14100"/>
          <ac:cxnSpMkLst>
            <pc:docMk/>
            <pc:sldMk cId="505702371" sldId="2147481525"/>
            <ac:cxnSpMk id="12" creationId="{0218AC7E-E91F-07F9-F75E-75E68FFCB806}"/>
          </ac:cxnSpMkLst>
        </pc:cxnChg>
        <pc:cxnChg chg="del">
          <ac:chgData name="Faure, Didier" userId="791ba54c-1f49-4f2e-b537-01eab0413206" providerId="ADAL" clId="{5FA6CE73-62F5-4FEE-BBB5-7F1A9A603EA6}" dt="2025-02-13T13:23:04.769" v="1548" actId="478"/>
          <ac:cxnSpMkLst>
            <pc:docMk/>
            <pc:sldMk cId="505702371" sldId="2147481525"/>
            <ac:cxnSpMk id="23" creationId="{1CB608FE-DBA3-F5D5-D50A-D5419D7D6286}"/>
          </ac:cxnSpMkLst>
        </pc:cxnChg>
        <pc:cxnChg chg="del">
          <ac:chgData name="Faure, Didier" userId="791ba54c-1f49-4f2e-b537-01eab0413206" providerId="ADAL" clId="{5FA6CE73-62F5-4FEE-BBB5-7F1A9A603EA6}" dt="2025-02-13T13:23:05.763" v="1549" actId="478"/>
          <ac:cxnSpMkLst>
            <pc:docMk/>
            <pc:sldMk cId="505702371" sldId="2147481525"/>
            <ac:cxnSpMk id="24" creationId="{924F3A96-61EE-B743-33C0-553E26ACFA52}"/>
          </ac:cxnSpMkLst>
        </pc:cxnChg>
        <pc:cxnChg chg="del mod">
          <ac:chgData name="Faure, Didier" userId="791ba54c-1f49-4f2e-b537-01eab0413206" providerId="ADAL" clId="{5FA6CE73-62F5-4FEE-BBB5-7F1A9A603EA6}" dt="2025-02-13T15:19:59.360" v="1588" actId="478"/>
          <ac:cxnSpMkLst>
            <pc:docMk/>
            <pc:sldMk cId="505702371" sldId="2147481525"/>
            <ac:cxnSpMk id="102" creationId="{58F56D68-61AA-36EA-CAEC-B03B82975480}"/>
          </ac:cxnSpMkLst>
        </pc:cxnChg>
      </pc:sldChg>
      <pc:sldChg chg="addSp delSp modSp add mod">
        <pc:chgData name="Faure, Didier" userId="791ba54c-1f49-4f2e-b537-01eab0413206" providerId="ADAL" clId="{5FA6CE73-62F5-4FEE-BBB5-7F1A9A603EA6}" dt="2025-02-13T18:51:56.673" v="3830" actId="166"/>
        <pc:sldMkLst>
          <pc:docMk/>
          <pc:sldMk cId="3161551992" sldId="2147481526"/>
        </pc:sldMkLst>
        <pc:spChg chg="mod">
          <ac:chgData name="Faure, Didier" userId="791ba54c-1f49-4f2e-b537-01eab0413206" providerId="ADAL" clId="{5FA6CE73-62F5-4FEE-BBB5-7F1A9A603EA6}" dt="2025-02-13T16:58:21.368" v="2620" actId="1076"/>
          <ac:spMkLst>
            <pc:docMk/>
            <pc:sldMk cId="3161551992" sldId="2147481526"/>
            <ac:spMk id="11" creationId="{039EFA86-278A-78E8-306B-2B493FA05220}"/>
          </ac:spMkLst>
        </pc:spChg>
        <pc:spChg chg="mod">
          <ac:chgData name="Faure, Didier" userId="791ba54c-1f49-4f2e-b537-01eab0413206" providerId="ADAL" clId="{5FA6CE73-62F5-4FEE-BBB5-7F1A9A603EA6}" dt="2025-02-13T16:49:26.310" v="2491" actId="1036"/>
          <ac:spMkLst>
            <pc:docMk/>
            <pc:sldMk cId="3161551992" sldId="2147481526"/>
            <ac:spMk id="43" creationId="{1F7E0432-1F21-8AC7-7570-37C7A60BDDC9}"/>
          </ac:spMkLst>
        </pc:spChg>
        <pc:spChg chg="mod">
          <ac:chgData name="Faure, Didier" userId="791ba54c-1f49-4f2e-b537-01eab0413206" providerId="ADAL" clId="{5FA6CE73-62F5-4FEE-BBB5-7F1A9A603EA6}" dt="2025-02-13T17:02:02.991" v="2656" actId="20577"/>
          <ac:spMkLst>
            <pc:docMk/>
            <pc:sldMk cId="3161551992" sldId="2147481526"/>
            <ac:spMk id="52" creationId="{2D983DB6-86B6-2BF3-FCC8-46E7B8EBA5A3}"/>
          </ac:spMkLst>
        </pc:spChg>
        <pc:spChg chg="mod">
          <ac:chgData name="Faure, Didier" userId="791ba54c-1f49-4f2e-b537-01eab0413206" providerId="ADAL" clId="{5FA6CE73-62F5-4FEE-BBB5-7F1A9A603EA6}" dt="2025-02-13T16:50:19.870" v="2504" actId="20577"/>
          <ac:spMkLst>
            <pc:docMk/>
            <pc:sldMk cId="3161551992" sldId="2147481526"/>
            <ac:spMk id="58" creationId="{F00B6BB3-A3E3-CA84-7476-821AFB2B3491}"/>
          </ac:spMkLst>
        </pc:spChg>
        <pc:spChg chg="mod">
          <ac:chgData name="Faure, Didier" userId="791ba54c-1f49-4f2e-b537-01eab0413206" providerId="ADAL" clId="{5FA6CE73-62F5-4FEE-BBB5-7F1A9A603EA6}" dt="2025-02-13T16:48:20.571" v="2447" actId="1035"/>
          <ac:spMkLst>
            <pc:docMk/>
            <pc:sldMk cId="3161551992" sldId="2147481526"/>
            <ac:spMk id="59" creationId="{E3910491-7723-94C0-C7FE-8B2C1EE14CC9}"/>
          </ac:spMkLst>
        </pc:spChg>
        <pc:spChg chg="mod">
          <ac:chgData name="Faure, Didier" userId="791ba54c-1f49-4f2e-b537-01eab0413206" providerId="ADAL" clId="{5FA6CE73-62F5-4FEE-BBB5-7F1A9A603EA6}" dt="2025-02-13T16:49:39.645" v="2502" actId="1036"/>
          <ac:spMkLst>
            <pc:docMk/>
            <pc:sldMk cId="3161551992" sldId="2147481526"/>
            <ac:spMk id="60" creationId="{25E502BD-5210-E88A-3E4F-EC45F2B1D2B3}"/>
          </ac:spMkLst>
        </pc:spChg>
        <pc:spChg chg="mod">
          <ac:chgData name="Faure, Didier" userId="791ba54c-1f49-4f2e-b537-01eab0413206" providerId="ADAL" clId="{5FA6CE73-62F5-4FEE-BBB5-7F1A9A603EA6}" dt="2025-02-13T16:35:23.159" v="2151" actId="20577"/>
          <ac:spMkLst>
            <pc:docMk/>
            <pc:sldMk cId="3161551992" sldId="2147481526"/>
            <ac:spMk id="62" creationId="{C8150B97-541C-BC17-A789-56F8312ED4DB}"/>
          </ac:spMkLst>
        </pc:spChg>
        <pc:spChg chg="mod">
          <ac:chgData name="Faure, Didier" userId="791ba54c-1f49-4f2e-b537-01eab0413206" providerId="ADAL" clId="{5FA6CE73-62F5-4FEE-BBB5-7F1A9A603EA6}" dt="2025-02-13T16:49:39.645" v="2502" actId="1036"/>
          <ac:spMkLst>
            <pc:docMk/>
            <pc:sldMk cId="3161551992" sldId="2147481526"/>
            <ac:spMk id="65" creationId="{C1EB025B-F6E8-9DFD-B2AE-9A63DA806842}"/>
          </ac:spMkLst>
        </pc:spChg>
        <pc:spChg chg="mod">
          <ac:chgData name="Faure, Didier" userId="791ba54c-1f49-4f2e-b537-01eab0413206" providerId="ADAL" clId="{5FA6CE73-62F5-4FEE-BBB5-7F1A9A603EA6}" dt="2025-02-13T16:35:47.213" v="2164" actId="20577"/>
          <ac:spMkLst>
            <pc:docMk/>
            <pc:sldMk cId="3161551992" sldId="2147481526"/>
            <ac:spMk id="71" creationId="{E5A51C88-46E7-2DD5-2451-679ADCAD5F63}"/>
          </ac:spMkLst>
        </pc:spChg>
        <pc:spChg chg="mod">
          <ac:chgData name="Faure, Didier" userId="791ba54c-1f49-4f2e-b537-01eab0413206" providerId="ADAL" clId="{5FA6CE73-62F5-4FEE-BBB5-7F1A9A603EA6}" dt="2025-02-13T16:46:12.098" v="2374" actId="20577"/>
          <ac:spMkLst>
            <pc:docMk/>
            <pc:sldMk cId="3161551992" sldId="2147481526"/>
            <ac:spMk id="87" creationId="{F110D102-BD5E-9619-CCFF-2290AD9A75EF}"/>
          </ac:spMkLst>
        </pc:spChg>
        <pc:spChg chg="mod">
          <ac:chgData name="Faure, Didier" userId="791ba54c-1f49-4f2e-b537-01eab0413206" providerId="ADAL" clId="{5FA6CE73-62F5-4FEE-BBB5-7F1A9A603EA6}" dt="2025-02-13T16:49:13.343" v="2480" actId="1036"/>
          <ac:spMkLst>
            <pc:docMk/>
            <pc:sldMk cId="3161551992" sldId="2147481526"/>
            <ac:spMk id="88" creationId="{0AC04F7A-116D-9718-E0D5-CF1F089A2952}"/>
          </ac:spMkLst>
        </pc:spChg>
        <pc:picChg chg="add mod ord">
          <ac:chgData name="Faure, Didier" userId="791ba54c-1f49-4f2e-b537-01eab0413206" providerId="ADAL" clId="{5FA6CE73-62F5-4FEE-BBB5-7F1A9A603EA6}" dt="2025-02-13T16:58:36.800" v="2623" actId="14100"/>
          <ac:picMkLst>
            <pc:docMk/>
            <pc:sldMk cId="3161551992" sldId="2147481526"/>
            <ac:picMk id="2" creationId="{E387AF14-59C2-04E4-36AF-579D2FF898C6}"/>
          </ac:picMkLst>
        </pc:picChg>
        <pc:picChg chg="add mod">
          <ac:chgData name="Faure, Didier" userId="791ba54c-1f49-4f2e-b537-01eab0413206" providerId="ADAL" clId="{5FA6CE73-62F5-4FEE-BBB5-7F1A9A603EA6}" dt="2025-02-13T16:57:53.080" v="2614" actId="1076"/>
          <ac:picMkLst>
            <pc:docMk/>
            <pc:sldMk cId="3161551992" sldId="2147481526"/>
            <ac:picMk id="3" creationId="{6186EFDF-93EE-1604-05FE-AC59EC7669FE}"/>
          </ac:picMkLst>
        </pc:picChg>
        <pc:picChg chg="del">
          <ac:chgData name="Faure, Didier" userId="791ba54c-1f49-4f2e-b537-01eab0413206" providerId="ADAL" clId="{5FA6CE73-62F5-4FEE-BBB5-7F1A9A603EA6}" dt="2025-02-13T16:56:32.122" v="2607" actId="478"/>
          <ac:picMkLst>
            <pc:docMk/>
            <pc:sldMk cId="3161551992" sldId="2147481526"/>
            <ac:picMk id="5" creationId="{3CE886F4-6E72-1447-EB94-48AFB9A4F38E}"/>
          </ac:picMkLst>
        </pc:picChg>
        <pc:picChg chg="del">
          <ac:chgData name="Faure, Didier" userId="791ba54c-1f49-4f2e-b537-01eab0413206" providerId="ADAL" clId="{5FA6CE73-62F5-4FEE-BBB5-7F1A9A603EA6}" dt="2025-02-13T16:57:27.767" v="2610" actId="478"/>
          <ac:picMkLst>
            <pc:docMk/>
            <pc:sldMk cId="3161551992" sldId="2147481526"/>
            <ac:picMk id="21" creationId="{ED3BDD89-14CA-E9E4-0CD6-585CB5929345}"/>
          </ac:picMkLst>
        </pc:picChg>
        <pc:cxnChg chg="mod ord">
          <ac:chgData name="Faure, Didier" userId="791ba54c-1f49-4f2e-b537-01eab0413206" providerId="ADAL" clId="{5FA6CE73-62F5-4FEE-BBB5-7F1A9A603EA6}" dt="2025-02-13T18:51:56.673" v="3830" actId="166"/>
          <ac:cxnSpMkLst>
            <pc:docMk/>
            <pc:sldMk cId="3161551992" sldId="2147481526"/>
            <ac:cxnSpMk id="12" creationId="{0218AC7E-E91F-07F9-F75E-75E68FFCB806}"/>
          </ac:cxnSpMkLst>
        </pc:cxnChg>
      </pc:sldChg>
      <pc:sldChg chg="add del">
        <pc:chgData name="Faure, Didier" userId="791ba54c-1f49-4f2e-b537-01eab0413206" providerId="ADAL" clId="{5FA6CE73-62F5-4FEE-BBB5-7F1A9A603EA6}" dt="2025-02-14T08:09:51.566" v="4036" actId="47"/>
        <pc:sldMkLst>
          <pc:docMk/>
          <pc:sldMk cId="896386784" sldId="2147481527"/>
        </pc:sldMkLst>
      </pc:sldChg>
      <pc:sldChg chg="addSp delSp modSp add mod">
        <pc:chgData name="Faure, Didier" userId="791ba54c-1f49-4f2e-b537-01eab0413206" providerId="ADAL" clId="{5FA6CE73-62F5-4FEE-BBB5-7F1A9A603EA6}" dt="2025-02-14T12:33:16.455" v="5334" actId="1076"/>
        <pc:sldMkLst>
          <pc:docMk/>
          <pc:sldMk cId="2992453240" sldId="2147481527"/>
        </pc:sldMkLst>
        <pc:spChg chg="add mod">
          <ac:chgData name="Faure, Didier" userId="791ba54c-1f49-4f2e-b537-01eab0413206" providerId="ADAL" clId="{5FA6CE73-62F5-4FEE-BBB5-7F1A9A603EA6}" dt="2025-02-14T10:59:31.866" v="5136" actId="1036"/>
          <ac:spMkLst>
            <pc:docMk/>
            <pc:sldMk cId="2992453240" sldId="2147481527"/>
            <ac:spMk id="5" creationId="{1659DFCC-2165-65E8-55BD-6DB71CFDE87C}"/>
          </ac:spMkLst>
        </pc:spChg>
        <pc:spChg chg="add mod">
          <ac:chgData name="Faure, Didier" userId="791ba54c-1f49-4f2e-b537-01eab0413206" providerId="ADAL" clId="{5FA6CE73-62F5-4FEE-BBB5-7F1A9A603EA6}" dt="2025-02-14T10:59:31.866" v="5136" actId="1036"/>
          <ac:spMkLst>
            <pc:docMk/>
            <pc:sldMk cId="2992453240" sldId="2147481527"/>
            <ac:spMk id="6" creationId="{1680CDC2-2363-6353-F323-80F09D4B6FBE}"/>
          </ac:spMkLst>
        </pc:spChg>
        <pc:spChg chg="add mod">
          <ac:chgData name="Faure, Didier" userId="791ba54c-1f49-4f2e-b537-01eab0413206" providerId="ADAL" clId="{5FA6CE73-62F5-4FEE-BBB5-7F1A9A603EA6}" dt="2025-02-14T10:52:34.632" v="5030" actId="1076"/>
          <ac:spMkLst>
            <pc:docMk/>
            <pc:sldMk cId="2992453240" sldId="2147481527"/>
            <ac:spMk id="7" creationId="{0F13FEF3-61A6-5747-F768-A1E202BE5E45}"/>
          </ac:spMkLst>
        </pc:spChg>
        <pc:spChg chg="add del mod">
          <ac:chgData name="Faure, Didier" userId="791ba54c-1f49-4f2e-b537-01eab0413206" providerId="ADAL" clId="{5FA6CE73-62F5-4FEE-BBB5-7F1A9A603EA6}" dt="2025-02-14T10:54:29.452" v="5078" actId="478"/>
          <ac:spMkLst>
            <pc:docMk/>
            <pc:sldMk cId="2992453240" sldId="2147481527"/>
            <ac:spMk id="22" creationId="{E4BEFFE0-6B3A-3568-9ECE-3365AADCE1F9}"/>
          </ac:spMkLst>
        </pc:spChg>
        <pc:spChg chg="add mod">
          <ac:chgData name="Faure, Didier" userId="791ba54c-1f49-4f2e-b537-01eab0413206" providerId="ADAL" clId="{5FA6CE73-62F5-4FEE-BBB5-7F1A9A603EA6}" dt="2025-02-14T10:59:01.534" v="5132" actId="1035"/>
          <ac:spMkLst>
            <pc:docMk/>
            <pc:sldMk cId="2992453240" sldId="2147481527"/>
            <ac:spMk id="25" creationId="{09472A90-EF32-FABD-4D79-262882C7132A}"/>
          </ac:spMkLst>
        </pc:spChg>
        <pc:spChg chg="mod">
          <ac:chgData name="Faure, Didier" userId="791ba54c-1f49-4f2e-b537-01eab0413206" providerId="ADAL" clId="{5FA6CE73-62F5-4FEE-BBB5-7F1A9A603EA6}" dt="2025-02-14T10:56:47.748" v="5094" actId="1036"/>
          <ac:spMkLst>
            <pc:docMk/>
            <pc:sldMk cId="2992453240" sldId="2147481527"/>
            <ac:spMk id="29" creationId="{A065D1BD-6027-BCDF-B4CB-20E46A0DA95F}"/>
          </ac:spMkLst>
        </pc:spChg>
        <pc:spChg chg="add del mod">
          <ac:chgData name="Faure, Didier" userId="791ba54c-1f49-4f2e-b537-01eab0413206" providerId="ADAL" clId="{5FA6CE73-62F5-4FEE-BBB5-7F1A9A603EA6}" dt="2025-02-14T12:12:43.560" v="5186" actId="478"/>
          <ac:spMkLst>
            <pc:docMk/>
            <pc:sldMk cId="2992453240" sldId="2147481527"/>
            <ac:spMk id="33" creationId="{EDCF1834-FE81-CF27-2BB8-72D2EE5A6174}"/>
          </ac:spMkLst>
        </pc:spChg>
        <pc:spChg chg="add mod">
          <ac:chgData name="Faure, Didier" userId="791ba54c-1f49-4f2e-b537-01eab0413206" providerId="ADAL" clId="{5FA6CE73-62F5-4FEE-BBB5-7F1A9A603EA6}" dt="2025-02-14T12:33:16.455" v="5334" actId="1076"/>
          <ac:spMkLst>
            <pc:docMk/>
            <pc:sldMk cId="2992453240" sldId="2147481527"/>
            <ac:spMk id="34" creationId="{082F6D86-4CD1-FACE-C60B-ADE6C410AB7A}"/>
          </ac:spMkLst>
        </pc:spChg>
        <pc:spChg chg="mod">
          <ac:chgData name="Faure, Didier" userId="791ba54c-1f49-4f2e-b537-01eab0413206" providerId="ADAL" clId="{5FA6CE73-62F5-4FEE-BBB5-7F1A9A603EA6}" dt="2025-02-14T11:04:44.629" v="5150" actId="20577"/>
          <ac:spMkLst>
            <pc:docMk/>
            <pc:sldMk cId="2992453240" sldId="2147481527"/>
            <ac:spMk id="43" creationId="{1F7E0432-1F21-8AC7-7570-37C7A60BDDC9}"/>
          </ac:spMkLst>
        </pc:spChg>
        <pc:spChg chg="mod">
          <ac:chgData name="Faure, Didier" userId="791ba54c-1f49-4f2e-b537-01eab0413206" providerId="ADAL" clId="{5FA6CE73-62F5-4FEE-BBB5-7F1A9A603EA6}" dt="2025-02-14T10:56:43.500" v="5089" actId="1035"/>
          <ac:spMkLst>
            <pc:docMk/>
            <pc:sldMk cId="2992453240" sldId="2147481527"/>
            <ac:spMk id="45" creationId="{462D28B0-096D-D35E-8480-2F192B64945A}"/>
          </ac:spMkLst>
        </pc:spChg>
        <pc:spChg chg="mod">
          <ac:chgData name="Faure, Didier" userId="791ba54c-1f49-4f2e-b537-01eab0413206" providerId="ADAL" clId="{5FA6CE73-62F5-4FEE-BBB5-7F1A9A603EA6}" dt="2025-02-14T10:59:18.636" v="5133" actId="113"/>
          <ac:spMkLst>
            <pc:docMk/>
            <pc:sldMk cId="2992453240" sldId="2147481527"/>
            <ac:spMk id="52" creationId="{2D983DB6-86B6-2BF3-FCC8-46E7B8EBA5A3}"/>
          </ac:spMkLst>
        </pc:spChg>
        <pc:spChg chg="mod">
          <ac:chgData name="Faure, Didier" userId="791ba54c-1f49-4f2e-b537-01eab0413206" providerId="ADAL" clId="{5FA6CE73-62F5-4FEE-BBB5-7F1A9A603EA6}" dt="2025-02-14T09:44:44.715" v="4312" actId="20577"/>
          <ac:spMkLst>
            <pc:docMk/>
            <pc:sldMk cId="2992453240" sldId="2147481527"/>
            <ac:spMk id="60" creationId="{25E502BD-5210-E88A-3E4F-EC45F2B1D2B3}"/>
          </ac:spMkLst>
        </pc:spChg>
        <pc:spChg chg="mod">
          <ac:chgData name="Faure, Didier" userId="791ba54c-1f49-4f2e-b537-01eab0413206" providerId="ADAL" clId="{5FA6CE73-62F5-4FEE-BBB5-7F1A9A603EA6}" dt="2025-02-14T08:35:50.886" v="4199" actId="20577"/>
          <ac:spMkLst>
            <pc:docMk/>
            <pc:sldMk cId="2992453240" sldId="2147481527"/>
            <ac:spMk id="61" creationId="{3E8F08BB-7384-E4FB-4CF7-BFAD3ED739A3}"/>
          </ac:spMkLst>
        </pc:spChg>
        <pc:spChg chg="mod">
          <ac:chgData name="Faure, Didier" userId="791ba54c-1f49-4f2e-b537-01eab0413206" providerId="ADAL" clId="{5FA6CE73-62F5-4FEE-BBB5-7F1A9A603EA6}" dt="2025-02-14T08:34:16.788" v="4144" actId="255"/>
          <ac:spMkLst>
            <pc:docMk/>
            <pc:sldMk cId="2992453240" sldId="2147481527"/>
            <ac:spMk id="62" creationId="{C8150B97-541C-BC17-A789-56F8312ED4DB}"/>
          </ac:spMkLst>
        </pc:spChg>
        <pc:spChg chg="mod">
          <ac:chgData name="Faure, Didier" userId="791ba54c-1f49-4f2e-b537-01eab0413206" providerId="ADAL" clId="{5FA6CE73-62F5-4FEE-BBB5-7F1A9A603EA6}" dt="2025-02-14T08:35:28.840" v="4192" actId="113"/>
          <ac:spMkLst>
            <pc:docMk/>
            <pc:sldMk cId="2992453240" sldId="2147481527"/>
            <ac:spMk id="71" creationId="{E5A51C88-46E7-2DD5-2451-679ADCAD5F63}"/>
          </ac:spMkLst>
        </pc:spChg>
        <pc:spChg chg="mod">
          <ac:chgData name="Faure, Didier" userId="791ba54c-1f49-4f2e-b537-01eab0413206" providerId="ADAL" clId="{5FA6CE73-62F5-4FEE-BBB5-7F1A9A603EA6}" dt="2025-02-14T10:57:16.216" v="5107" actId="14100"/>
          <ac:spMkLst>
            <pc:docMk/>
            <pc:sldMk cId="2992453240" sldId="2147481527"/>
            <ac:spMk id="77" creationId="{CEB518CC-88F0-C974-99B5-11D72930C682}"/>
          </ac:spMkLst>
        </pc:spChg>
        <pc:spChg chg="mod">
          <ac:chgData name="Faure, Didier" userId="791ba54c-1f49-4f2e-b537-01eab0413206" providerId="ADAL" clId="{5FA6CE73-62F5-4FEE-BBB5-7F1A9A603EA6}" dt="2025-02-14T08:34:28.296" v="4154" actId="20577"/>
          <ac:spMkLst>
            <pc:docMk/>
            <pc:sldMk cId="2992453240" sldId="2147481527"/>
            <ac:spMk id="82" creationId="{E613E64A-8215-A989-D201-A1DE6E0C731D}"/>
          </ac:spMkLst>
        </pc:spChg>
        <pc:spChg chg="mod">
          <ac:chgData name="Faure, Didier" userId="791ba54c-1f49-4f2e-b537-01eab0413206" providerId="ADAL" clId="{5FA6CE73-62F5-4FEE-BBB5-7F1A9A603EA6}" dt="2025-02-14T09:44:56.665" v="4315" actId="20577"/>
          <ac:spMkLst>
            <pc:docMk/>
            <pc:sldMk cId="2992453240" sldId="2147481527"/>
            <ac:spMk id="87" creationId="{F110D102-BD5E-9619-CCFF-2290AD9A75EF}"/>
          </ac:spMkLst>
        </pc:spChg>
        <pc:spChg chg="mod">
          <ac:chgData name="Faure, Didier" userId="791ba54c-1f49-4f2e-b537-01eab0413206" providerId="ADAL" clId="{5FA6CE73-62F5-4FEE-BBB5-7F1A9A603EA6}" dt="2025-02-14T12:12:34.224" v="5184" actId="20577"/>
          <ac:spMkLst>
            <pc:docMk/>
            <pc:sldMk cId="2992453240" sldId="2147481527"/>
            <ac:spMk id="89" creationId="{92B33583-B78B-3838-A775-6DB271509FE7}"/>
          </ac:spMkLst>
        </pc:spChg>
        <pc:spChg chg="del mod">
          <ac:chgData name="Faure, Didier" userId="791ba54c-1f49-4f2e-b537-01eab0413206" providerId="ADAL" clId="{5FA6CE73-62F5-4FEE-BBB5-7F1A9A603EA6}" dt="2025-02-14T11:10:42.130" v="5151" actId="478"/>
          <ac:spMkLst>
            <pc:docMk/>
            <pc:sldMk cId="2992453240" sldId="2147481527"/>
            <ac:spMk id="98" creationId="{3D225CB2-630E-D23E-0957-A27BB2552B1C}"/>
          </ac:spMkLst>
        </pc:spChg>
        <pc:spChg chg="mod ord">
          <ac:chgData name="Faure, Didier" userId="791ba54c-1f49-4f2e-b537-01eab0413206" providerId="ADAL" clId="{5FA6CE73-62F5-4FEE-BBB5-7F1A9A603EA6}" dt="2025-02-14T10:56:43.500" v="5089" actId="1035"/>
          <ac:spMkLst>
            <pc:docMk/>
            <pc:sldMk cId="2992453240" sldId="2147481527"/>
            <ac:spMk id="99" creationId="{031ED419-5B19-3F0B-5703-0892586118A3}"/>
          </ac:spMkLst>
        </pc:spChg>
        <pc:spChg chg="del mod">
          <ac:chgData name="Faure, Didier" userId="791ba54c-1f49-4f2e-b537-01eab0413206" providerId="ADAL" clId="{5FA6CE73-62F5-4FEE-BBB5-7F1A9A603EA6}" dt="2025-02-14T10:08:53.800" v="4683" actId="478"/>
          <ac:spMkLst>
            <pc:docMk/>
            <pc:sldMk cId="2992453240" sldId="2147481527"/>
            <ac:spMk id="100" creationId="{15343C28-D3EB-C214-5F63-B0CC526596F4}"/>
          </ac:spMkLst>
        </pc:spChg>
        <pc:spChg chg="mod">
          <ac:chgData name="Faure, Didier" userId="791ba54c-1f49-4f2e-b537-01eab0413206" providerId="ADAL" clId="{5FA6CE73-62F5-4FEE-BBB5-7F1A9A603EA6}" dt="2025-02-14T10:54:17.123" v="5066" actId="1037"/>
          <ac:spMkLst>
            <pc:docMk/>
            <pc:sldMk cId="2992453240" sldId="2147481527"/>
            <ac:spMk id="104" creationId="{A8E9D213-08D9-E160-393C-B6ECD02B0C57}"/>
          </ac:spMkLst>
        </pc:spChg>
        <pc:spChg chg="mod">
          <ac:chgData name="Faure, Didier" userId="791ba54c-1f49-4f2e-b537-01eab0413206" providerId="ADAL" clId="{5FA6CE73-62F5-4FEE-BBB5-7F1A9A603EA6}" dt="2025-02-14T10:54:27.632" v="5077" actId="1076"/>
          <ac:spMkLst>
            <pc:docMk/>
            <pc:sldMk cId="2992453240" sldId="2147481527"/>
            <ac:spMk id="105" creationId="{A5F24B8D-D73D-7670-AA77-078D814C49CD}"/>
          </ac:spMkLst>
        </pc:spChg>
        <pc:spChg chg="mod">
          <ac:chgData name="Faure, Didier" userId="791ba54c-1f49-4f2e-b537-01eab0413206" providerId="ADAL" clId="{5FA6CE73-62F5-4FEE-BBB5-7F1A9A603EA6}" dt="2025-02-14T10:57:11.071" v="5106" actId="1036"/>
          <ac:spMkLst>
            <pc:docMk/>
            <pc:sldMk cId="2992453240" sldId="2147481527"/>
            <ac:spMk id="107" creationId="{BF9AC984-E943-0C69-3FE9-40B010E39B48}"/>
          </ac:spMkLst>
        </pc:spChg>
        <pc:spChg chg="mod">
          <ac:chgData name="Faure, Didier" userId="791ba54c-1f49-4f2e-b537-01eab0413206" providerId="ADAL" clId="{5FA6CE73-62F5-4FEE-BBB5-7F1A9A603EA6}" dt="2025-02-14T10:56:53.020" v="5103" actId="1036"/>
          <ac:spMkLst>
            <pc:docMk/>
            <pc:sldMk cId="2992453240" sldId="2147481527"/>
            <ac:spMk id="108" creationId="{3DF945DD-6A26-FDDA-972B-951792532F01}"/>
          </ac:spMkLst>
        </pc:spChg>
        <pc:grpChg chg="mod">
          <ac:chgData name="Faure, Didier" userId="791ba54c-1f49-4f2e-b537-01eab0413206" providerId="ADAL" clId="{5FA6CE73-62F5-4FEE-BBB5-7F1A9A603EA6}" dt="2025-02-14T10:56:43.500" v="5089" actId="1035"/>
          <ac:grpSpMkLst>
            <pc:docMk/>
            <pc:sldMk cId="2992453240" sldId="2147481527"/>
            <ac:grpSpMk id="46" creationId="{B782813F-3496-38D5-905D-BF224DB6F91E}"/>
          </ac:grpSpMkLst>
        </pc:grpChg>
        <pc:grpChg chg="mod">
          <ac:chgData name="Faure, Didier" userId="791ba54c-1f49-4f2e-b537-01eab0413206" providerId="ADAL" clId="{5FA6CE73-62F5-4FEE-BBB5-7F1A9A603EA6}" dt="2025-02-14T10:58:47.073" v="5117" actId="14100"/>
          <ac:grpSpMkLst>
            <pc:docMk/>
            <pc:sldMk cId="2992453240" sldId="2147481527"/>
            <ac:grpSpMk id="53" creationId="{AC61FE2B-F443-A0EE-09FE-18283CF93C4A}"/>
          </ac:grpSpMkLst>
        </pc:grpChg>
        <pc:picChg chg="del">
          <ac:chgData name="Faure, Didier" userId="791ba54c-1f49-4f2e-b537-01eab0413206" providerId="ADAL" clId="{5FA6CE73-62F5-4FEE-BBB5-7F1A9A603EA6}" dt="2025-02-14T08:56:12.703" v="4247" actId="478"/>
          <ac:picMkLst>
            <pc:docMk/>
            <pc:sldMk cId="2992453240" sldId="2147481527"/>
            <ac:picMk id="2" creationId="{4A2AE4AC-128A-611A-ADF9-FF5B392D0990}"/>
          </ac:picMkLst>
        </pc:picChg>
        <pc:picChg chg="del">
          <ac:chgData name="Faure, Didier" userId="791ba54c-1f49-4f2e-b537-01eab0413206" providerId="ADAL" clId="{5FA6CE73-62F5-4FEE-BBB5-7F1A9A603EA6}" dt="2025-02-14T08:55:48.830" v="4235" actId="478"/>
          <ac:picMkLst>
            <pc:docMk/>
            <pc:sldMk cId="2992453240" sldId="2147481527"/>
            <ac:picMk id="3" creationId="{D572D3C7-9B82-954A-7311-CE63F07AE0FC}"/>
          </ac:picMkLst>
        </pc:picChg>
        <pc:picChg chg="del">
          <ac:chgData name="Faure, Didier" userId="791ba54c-1f49-4f2e-b537-01eab0413206" providerId="ADAL" clId="{5FA6CE73-62F5-4FEE-BBB5-7F1A9A603EA6}" dt="2025-02-14T08:55:47.492" v="4234" actId="478"/>
          <ac:picMkLst>
            <pc:docMk/>
            <pc:sldMk cId="2992453240" sldId="2147481527"/>
            <ac:picMk id="4" creationId="{38399151-22B6-4FF1-C7EC-E4A83427DAF8}"/>
          </ac:picMkLst>
        </pc:picChg>
        <pc:picChg chg="add mod">
          <ac:chgData name="Faure, Didier" userId="791ba54c-1f49-4f2e-b537-01eab0413206" providerId="ADAL" clId="{5FA6CE73-62F5-4FEE-BBB5-7F1A9A603EA6}" dt="2025-02-14T10:59:01.534" v="5132" actId="1035"/>
          <ac:picMkLst>
            <pc:docMk/>
            <pc:sldMk cId="2992453240" sldId="2147481527"/>
            <ac:picMk id="8" creationId="{EF0A3D85-4DD2-106A-9980-3175F6E46247}"/>
          </ac:picMkLst>
        </pc:picChg>
        <pc:picChg chg="add mod ord">
          <ac:chgData name="Faure, Didier" userId="791ba54c-1f49-4f2e-b537-01eab0413206" providerId="ADAL" clId="{5FA6CE73-62F5-4FEE-BBB5-7F1A9A603EA6}" dt="2025-02-14T10:56:43.500" v="5089" actId="1035"/>
          <ac:picMkLst>
            <pc:docMk/>
            <pc:sldMk cId="2992453240" sldId="2147481527"/>
            <ac:picMk id="9" creationId="{DDAD4C1A-DD43-86CA-F584-2BC373FF3D37}"/>
          </ac:picMkLst>
        </pc:picChg>
        <pc:picChg chg="add mod">
          <ac:chgData name="Faure, Didier" userId="791ba54c-1f49-4f2e-b537-01eab0413206" providerId="ADAL" clId="{5FA6CE73-62F5-4FEE-BBB5-7F1A9A603EA6}" dt="2025-02-14T10:56:43.500" v="5089" actId="1035"/>
          <ac:picMkLst>
            <pc:docMk/>
            <pc:sldMk cId="2992453240" sldId="2147481527"/>
            <ac:picMk id="10" creationId="{84DD620F-E8F9-C3A8-6EBD-901A1C89D330}"/>
          </ac:picMkLst>
        </pc:picChg>
        <pc:picChg chg="add mod">
          <ac:chgData name="Faure, Didier" userId="791ba54c-1f49-4f2e-b537-01eab0413206" providerId="ADAL" clId="{5FA6CE73-62F5-4FEE-BBB5-7F1A9A603EA6}" dt="2025-02-14T10:56:43.500" v="5089" actId="1035"/>
          <ac:picMkLst>
            <pc:docMk/>
            <pc:sldMk cId="2992453240" sldId="2147481527"/>
            <ac:picMk id="11" creationId="{2002826C-CA6B-7E6F-A67D-890D35EF5FC7}"/>
          </ac:picMkLst>
        </pc:picChg>
        <pc:picChg chg="add mod ord">
          <ac:chgData name="Faure, Didier" userId="791ba54c-1f49-4f2e-b537-01eab0413206" providerId="ADAL" clId="{5FA6CE73-62F5-4FEE-BBB5-7F1A9A603EA6}" dt="2025-02-14T10:25:54.496" v="4839" actId="1036"/>
          <ac:picMkLst>
            <pc:docMk/>
            <pc:sldMk cId="2992453240" sldId="2147481527"/>
            <ac:picMk id="12" creationId="{3815C72F-5E44-89A2-E7F0-C8B200B17BB8}"/>
          </ac:picMkLst>
        </pc:picChg>
        <pc:picChg chg="add del mod">
          <ac:chgData name="Faure, Didier" userId="791ba54c-1f49-4f2e-b537-01eab0413206" providerId="ADAL" clId="{5FA6CE73-62F5-4FEE-BBB5-7F1A9A603EA6}" dt="2025-02-14T10:44:55.365" v="4903" actId="478"/>
          <ac:picMkLst>
            <pc:docMk/>
            <pc:sldMk cId="2992453240" sldId="2147481527"/>
            <ac:picMk id="13" creationId="{DFAE55F1-C571-4FDA-526C-DC25E6302DCF}"/>
          </ac:picMkLst>
        </pc:picChg>
        <pc:picChg chg="add mod ord">
          <ac:chgData name="Faure, Didier" userId="791ba54c-1f49-4f2e-b537-01eab0413206" providerId="ADAL" clId="{5FA6CE73-62F5-4FEE-BBB5-7F1A9A603EA6}" dt="2025-02-14T10:54:20.592" v="5076" actId="1037"/>
          <ac:picMkLst>
            <pc:docMk/>
            <pc:sldMk cId="2992453240" sldId="2147481527"/>
            <ac:picMk id="15" creationId="{85DBE63F-C758-CC66-234A-EE22AE9A6056}"/>
          </ac:picMkLst>
        </pc:picChg>
        <pc:picChg chg="add mod ord">
          <ac:chgData name="Faure, Didier" userId="791ba54c-1f49-4f2e-b537-01eab0413206" providerId="ADAL" clId="{5FA6CE73-62F5-4FEE-BBB5-7F1A9A603EA6}" dt="2025-02-14T10:53:12.560" v="5040" actId="1036"/>
          <ac:picMkLst>
            <pc:docMk/>
            <pc:sldMk cId="2992453240" sldId="2147481527"/>
            <ac:picMk id="17" creationId="{B898CD7F-AAE8-FDFE-D516-DCA5851D728C}"/>
          </ac:picMkLst>
        </pc:picChg>
        <pc:picChg chg="add mod ord">
          <ac:chgData name="Faure, Didier" userId="791ba54c-1f49-4f2e-b537-01eab0413206" providerId="ADAL" clId="{5FA6CE73-62F5-4FEE-BBB5-7F1A9A603EA6}" dt="2025-02-14T10:53:25.567" v="5048" actId="167"/>
          <ac:picMkLst>
            <pc:docMk/>
            <pc:sldMk cId="2992453240" sldId="2147481527"/>
            <ac:picMk id="19" creationId="{D71CE748-20CB-DF9C-F204-2868388C0179}"/>
          </ac:picMkLst>
        </pc:picChg>
        <pc:picChg chg="add mod ord">
          <ac:chgData name="Faure, Didier" userId="791ba54c-1f49-4f2e-b537-01eab0413206" providerId="ADAL" clId="{5FA6CE73-62F5-4FEE-BBB5-7F1A9A603EA6}" dt="2025-02-14T10:56:43.500" v="5089" actId="1035"/>
          <ac:picMkLst>
            <pc:docMk/>
            <pc:sldMk cId="2992453240" sldId="2147481527"/>
            <ac:picMk id="21" creationId="{DF336ACB-E467-55EF-C35C-66C93BB35D0F}"/>
          </ac:picMkLst>
        </pc:picChg>
        <pc:picChg chg="del">
          <ac:chgData name="Faure, Didier" userId="791ba54c-1f49-4f2e-b537-01eab0413206" providerId="ADAL" clId="{5FA6CE73-62F5-4FEE-BBB5-7F1A9A603EA6}" dt="2025-02-14T08:12:21.578" v="4095" actId="478"/>
          <ac:picMkLst>
            <pc:docMk/>
            <pc:sldMk cId="2992453240" sldId="2147481527"/>
            <ac:picMk id="91" creationId="{96B493DE-689F-AF0D-DC51-7D47062CB967}"/>
          </ac:picMkLst>
        </pc:picChg>
        <pc:picChg chg="del">
          <ac:chgData name="Faure, Didier" userId="791ba54c-1f49-4f2e-b537-01eab0413206" providerId="ADAL" clId="{5FA6CE73-62F5-4FEE-BBB5-7F1A9A603EA6}" dt="2025-02-14T08:12:20.283" v="4094" actId="478"/>
          <ac:picMkLst>
            <pc:docMk/>
            <pc:sldMk cId="2992453240" sldId="2147481527"/>
            <ac:picMk id="93" creationId="{E7F9BE58-1F7B-9F4D-6889-23677486F616}"/>
          </ac:picMkLst>
        </pc:picChg>
        <pc:picChg chg="del">
          <ac:chgData name="Faure, Didier" userId="791ba54c-1f49-4f2e-b537-01eab0413206" providerId="ADAL" clId="{5FA6CE73-62F5-4FEE-BBB5-7F1A9A603EA6}" dt="2025-02-14T08:12:25.833" v="4096" actId="478"/>
          <ac:picMkLst>
            <pc:docMk/>
            <pc:sldMk cId="2992453240" sldId="2147481527"/>
            <ac:picMk id="95" creationId="{0E9013B3-3CCD-02D3-69D3-0A9A9C5975E2}"/>
          </ac:picMkLst>
        </pc:picChg>
        <pc:picChg chg="del">
          <ac:chgData name="Faure, Didier" userId="791ba54c-1f49-4f2e-b537-01eab0413206" providerId="ADAL" clId="{5FA6CE73-62F5-4FEE-BBB5-7F1A9A603EA6}" dt="2025-02-14T08:55:46.573" v="4233" actId="478"/>
          <ac:picMkLst>
            <pc:docMk/>
            <pc:sldMk cId="2992453240" sldId="2147481527"/>
            <ac:picMk id="106" creationId="{21C43BD9-43BE-1AF7-FD5C-814E0A3732FC}"/>
          </ac:picMkLst>
        </pc:picChg>
        <pc:cxnChg chg="del">
          <ac:chgData name="Faure, Didier" userId="791ba54c-1f49-4f2e-b537-01eab0413206" providerId="ADAL" clId="{5FA6CE73-62F5-4FEE-BBB5-7F1A9A603EA6}" dt="2025-02-14T08:55:51.115" v="4236" actId="478"/>
          <ac:cxnSpMkLst>
            <pc:docMk/>
            <pc:sldMk cId="2992453240" sldId="2147481527"/>
            <ac:cxnSpMk id="23" creationId="{1CB608FE-DBA3-F5D5-D50A-D5419D7D6286}"/>
          </ac:cxnSpMkLst>
        </pc:cxnChg>
        <pc:cxnChg chg="del">
          <ac:chgData name="Faure, Didier" userId="791ba54c-1f49-4f2e-b537-01eab0413206" providerId="ADAL" clId="{5FA6CE73-62F5-4FEE-BBB5-7F1A9A603EA6}" dt="2025-02-14T08:55:51.986" v="4237" actId="478"/>
          <ac:cxnSpMkLst>
            <pc:docMk/>
            <pc:sldMk cId="2992453240" sldId="2147481527"/>
            <ac:cxnSpMk id="24" creationId="{924F3A96-61EE-B743-33C0-553E26ACFA52}"/>
          </ac:cxnSpMkLst>
        </pc:cxnChg>
        <pc:cxnChg chg="add mod">
          <ac:chgData name="Faure, Didier" userId="791ba54c-1f49-4f2e-b537-01eab0413206" providerId="ADAL" clId="{5FA6CE73-62F5-4FEE-BBB5-7F1A9A603EA6}" dt="2025-02-14T10:56:43.500" v="5089" actId="1035"/>
          <ac:cxnSpMkLst>
            <pc:docMk/>
            <pc:sldMk cId="2992453240" sldId="2147481527"/>
            <ac:cxnSpMk id="26" creationId="{746C9AFD-5B1A-B9D7-02D8-1EC12EC72668}"/>
          </ac:cxnSpMkLst>
        </pc:cxnChg>
        <pc:cxnChg chg="del mod">
          <ac:chgData name="Faure, Didier" userId="791ba54c-1f49-4f2e-b537-01eab0413206" providerId="ADAL" clId="{5FA6CE73-62F5-4FEE-BBB5-7F1A9A603EA6}" dt="2025-02-14T10:08:55.170" v="4684" actId="478"/>
          <ac:cxnSpMkLst>
            <pc:docMk/>
            <pc:sldMk cId="2992453240" sldId="2147481527"/>
            <ac:cxnSpMk id="102" creationId="{58F56D68-61AA-36EA-CAEC-B03B82975480}"/>
          </ac:cxnSpMkLst>
        </pc:cxnChg>
      </pc:sldChg>
      <pc:sldChg chg="addSp modSp mod">
        <pc:chgData name="Faure, Didier" userId="791ba54c-1f49-4f2e-b537-01eab0413206" providerId="ADAL" clId="{5FA6CE73-62F5-4FEE-BBB5-7F1A9A603EA6}" dt="2025-02-14T12:37:41.095" v="5343" actId="1076"/>
        <pc:sldMkLst>
          <pc:docMk/>
          <pc:sldMk cId="4287068887" sldId="2147481528"/>
        </pc:sldMkLst>
        <pc:spChg chg="add mod">
          <ac:chgData name="Faure, Didier" userId="791ba54c-1f49-4f2e-b537-01eab0413206" providerId="ADAL" clId="{5FA6CE73-62F5-4FEE-BBB5-7F1A9A603EA6}" dt="2025-02-14T12:36:48.712" v="5340" actId="1076"/>
          <ac:spMkLst>
            <pc:docMk/>
            <pc:sldMk cId="4287068887" sldId="2147481528"/>
            <ac:spMk id="3" creationId="{DDEDCB25-E1C1-0A8F-2B8B-0BDAA625C2AB}"/>
          </ac:spMkLst>
        </pc:spChg>
        <pc:spChg chg="add mod">
          <ac:chgData name="Faure, Didier" userId="791ba54c-1f49-4f2e-b537-01eab0413206" providerId="ADAL" clId="{5FA6CE73-62F5-4FEE-BBB5-7F1A9A603EA6}" dt="2025-02-14T12:37:41.095" v="5343" actId="1076"/>
          <ac:spMkLst>
            <pc:docMk/>
            <pc:sldMk cId="4287068887" sldId="2147481528"/>
            <ac:spMk id="4" creationId="{279CB378-BDCB-C0A4-4E22-FB881C67361B}"/>
          </ac:spMkLst>
        </pc:spChg>
        <pc:picChg chg="add mod">
          <ac:chgData name="Faure, Didier" userId="791ba54c-1f49-4f2e-b537-01eab0413206" providerId="ADAL" clId="{5FA6CE73-62F5-4FEE-BBB5-7F1A9A603EA6}" dt="2025-02-14T12:34:51.533" v="5338" actId="167"/>
          <ac:picMkLst>
            <pc:docMk/>
            <pc:sldMk cId="4287068887" sldId="2147481528"/>
            <ac:picMk id="2" creationId="{3047F771-BADC-CDBB-CCC5-A00811A9DDD7}"/>
          </ac:picMkLst>
        </pc:picChg>
      </pc:sldChg>
      <pc:sldChg chg="delSp modSp add mod">
        <pc:chgData name="Faure, Didier" userId="791ba54c-1f49-4f2e-b537-01eab0413206" providerId="ADAL" clId="{5FA6CE73-62F5-4FEE-BBB5-7F1A9A603EA6}" dt="2025-02-14T14:15:32.716" v="5604" actId="20577"/>
        <pc:sldMkLst>
          <pc:docMk/>
          <pc:sldMk cId="2164203082" sldId="2147481529"/>
        </pc:sldMkLst>
        <pc:spChg chg="mod">
          <ac:chgData name="Faure, Didier" userId="791ba54c-1f49-4f2e-b537-01eab0413206" providerId="ADAL" clId="{5FA6CE73-62F5-4FEE-BBB5-7F1A9A603EA6}" dt="2025-02-14T12:41:39.075" v="5419" actId="1035"/>
          <ac:spMkLst>
            <pc:docMk/>
            <pc:sldMk cId="2164203082" sldId="2147481529"/>
            <ac:spMk id="5" creationId="{1659DFCC-2165-65E8-55BD-6DB71CFDE87C}"/>
          </ac:spMkLst>
        </pc:spChg>
        <pc:spChg chg="mod">
          <ac:chgData name="Faure, Didier" userId="791ba54c-1f49-4f2e-b537-01eab0413206" providerId="ADAL" clId="{5FA6CE73-62F5-4FEE-BBB5-7F1A9A603EA6}" dt="2025-02-14T12:41:39.075" v="5419" actId="1035"/>
          <ac:spMkLst>
            <pc:docMk/>
            <pc:sldMk cId="2164203082" sldId="2147481529"/>
            <ac:spMk id="6" creationId="{1680CDC2-2363-6353-F323-80F09D4B6FBE}"/>
          </ac:spMkLst>
        </pc:spChg>
        <pc:spChg chg="del">
          <ac:chgData name="Faure, Didier" userId="791ba54c-1f49-4f2e-b537-01eab0413206" providerId="ADAL" clId="{5FA6CE73-62F5-4FEE-BBB5-7F1A9A603EA6}" dt="2025-02-14T12:39:56.410" v="5355" actId="478"/>
          <ac:spMkLst>
            <pc:docMk/>
            <pc:sldMk cId="2164203082" sldId="2147481529"/>
            <ac:spMk id="34" creationId="{082F6D86-4CD1-FACE-C60B-ADE6C410AB7A}"/>
          </ac:spMkLst>
        </pc:spChg>
        <pc:spChg chg="mod">
          <ac:chgData name="Faure, Didier" userId="791ba54c-1f49-4f2e-b537-01eab0413206" providerId="ADAL" clId="{5FA6CE73-62F5-4FEE-BBB5-7F1A9A603EA6}" dt="2025-02-14T13:10:54.123" v="5494" actId="20577"/>
          <ac:spMkLst>
            <pc:docMk/>
            <pc:sldMk cId="2164203082" sldId="2147481529"/>
            <ac:spMk id="43" creationId="{1F7E0432-1F21-8AC7-7570-37C7A60BDDC9}"/>
          </ac:spMkLst>
        </pc:spChg>
        <pc:spChg chg="mod">
          <ac:chgData name="Faure, Didier" userId="791ba54c-1f49-4f2e-b537-01eab0413206" providerId="ADAL" clId="{5FA6CE73-62F5-4FEE-BBB5-7F1A9A603EA6}" dt="2025-02-14T12:40:37.483" v="5376" actId="20577"/>
          <ac:spMkLst>
            <pc:docMk/>
            <pc:sldMk cId="2164203082" sldId="2147481529"/>
            <ac:spMk id="45" creationId="{462D28B0-096D-D35E-8480-2F192B64945A}"/>
          </ac:spMkLst>
        </pc:spChg>
        <pc:spChg chg="mod">
          <ac:chgData name="Faure, Didier" userId="791ba54c-1f49-4f2e-b537-01eab0413206" providerId="ADAL" clId="{5FA6CE73-62F5-4FEE-BBB5-7F1A9A603EA6}" dt="2025-02-14T12:52:53.243" v="5477" actId="20577"/>
          <ac:spMkLst>
            <pc:docMk/>
            <pc:sldMk cId="2164203082" sldId="2147481529"/>
            <ac:spMk id="52" creationId="{2D983DB6-86B6-2BF3-FCC8-46E7B8EBA5A3}"/>
          </ac:spMkLst>
        </pc:spChg>
        <pc:spChg chg="mod">
          <ac:chgData name="Faure, Didier" userId="791ba54c-1f49-4f2e-b537-01eab0413206" providerId="ADAL" clId="{5FA6CE73-62F5-4FEE-BBB5-7F1A9A603EA6}" dt="2025-02-14T13:56:07.421" v="5504" actId="6549"/>
          <ac:spMkLst>
            <pc:docMk/>
            <pc:sldMk cId="2164203082" sldId="2147481529"/>
            <ac:spMk id="58" creationId="{F00B6BB3-A3E3-CA84-7476-821AFB2B3491}"/>
          </ac:spMkLst>
        </pc:spChg>
        <pc:spChg chg="mod">
          <ac:chgData name="Faure, Didier" userId="791ba54c-1f49-4f2e-b537-01eab0413206" providerId="ADAL" clId="{5FA6CE73-62F5-4FEE-BBB5-7F1A9A603EA6}" dt="2025-02-14T13:09:42.468" v="5487" actId="20577"/>
          <ac:spMkLst>
            <pc:docMk/>
            <pc:sldMk cId="2164203082" sldId="2147481529"/>
            <ac:spMk id="60" creationId="{25E502BD-5210-E88A-3E4F-EC45F2B1D2B3}"/>
          </ac:spMkLst>
        </pc:spChg>
        <pc:spChg chg="mod">
          <ac:chgData name="Faure, Didier" userId="791ba54c-1f49-4f2e-b537-01eab0413206" providerId="ADAL" clId="{5FA6CE73-62F5-4FEE-BBB5-7F1A9A603EA6}" dt="2025-02-14T12:50:09.937" v="5467" actId="20577"/>
          <ac:spMkLst>
            <pc:docMk/>
            <pc:sldMk cId="2164203082" sldId="2147481529"/>
            <ac:spMk id="61" creationId="{3E8F08BB-7384-E4FB-4CF7-BFAD3ED739A3}"/>
          </ac:spMkLst>
        </pc:spChg>
        <pc:spChg chg="mod">
          <ac:chgData name="Faure, Didier" userId="791ba54c-1f49-4f2e-b537-01eab0413206" providerId="ADAL" clId="{5FA6CE73-62F5-4FEE-BBB5-7F1A9A603EA6}" dt="2025-02-14T12:43:16.771" v="5446" actId="20577"/>
          <ac:spMkLst>
            <pc:docMk/>
            <pc:sldMk cId="2164203082" sldId="2147481529"/>
            <ac:spMk id="62" creationId="{C8150B97-541C-BC17-A789-56F8312ED4DB}"/>
          </ac:spMkLst>
        </pc:spChg>
        <pc:spChg chg="mod">
          <ac:chgData name="Faure, Didier" userId="791ba54c-1f49-4f2e-b537-01eab0413206" providerId="ADAL" clId="{5FA6CE73-62F5-4FEE-BBB5-7F1A9A603EA6}" dt="2025-02-14T13:58:58.358" v="5549" actId="20577"/>
          <ac:spMkLst>
            <pc:docMk/>
            <pc:sldMk cId="2164203082" sldId="2147481529"/>
            <ac:spMk id="71" creationId="{E5A51C88-46E7-2DD5-2451-679ADCAD5F63}"/>
          </ac:spMkLst>
        </pc:spChg>
        <pc:spChg chg="mod">
          <ac:chgData name="Faure, Didier" userId="791ba54c-1f49-4f2e-b537-01eab0413206" providerId="ADAL" clId="{5FA6CE73-62F5-4FEE-BBB5-7F1A9A603EA6}" dt="2025-02-14T13:58:50.670" v="5548" actId="1035"/>
          <ac:spMkLst>
            <pc:docMk/>
            <pc:sldMk cId="2164203082" sldId="2147481529"/>
            <ac:spMk id="76" creationId="{0A22A650-59C2-29BC-FFBC-C6FA9F5085AC}"/>
          </ac:spMkLst>
        </pc:spChg>
        <pc:spChg chg="del">
          <ac:chgData name="Faure, Didier" userId="791ba54c-1f49-4f2e-b537-01eab0413206" providerId="ADAL" clId="{5FA6CE73-62F5-4FEE-BBB5-7F1A9A603EA6}" dt="2025-02-14T12:41:27.928" v="5392" actId="478"/>
          <ac:spMkLst>
            <pc:docMk/>
            <pc:sldMk cId="2164203082" sldId="2147481529"/>
            <ac:spMk id="81" creationId="{7F8FF035-9BA4-F3F0-474B-3B8CA92BC57C}"/>
          </ac:spMkLst>
        </pc:spChg>
        <pc:spChg chg="del">
          <ac:chgData name="Faure, Didier" userId="791ba54c-1f49-4f2e-b537-01eab0413206" providerId="ADAL" clId="{5FA6CE73-62F5-4FEE-BBB5-7F1A9A603EA6}" dt="2025-02-14T12:41:27.928" v="5392" actId="478"/>
          <ac:spMkLst>
            <pc:docMk/>
            <pc:sldMk cId="2164203082" sldId="2147481529"/>
            <ac:spMk id="82" creationId="{E613E64A-8215-A989-D201-A1DE6E0C731D}"/>
          </ac:spMkLst>
        </pc:spChg>
        <pc:spChg chg="mod">
          <ac:chgData name="Faure, Didier" userId="791ba54c-1f49-4f2e-b537-01eab0413206" providerId="ADAL" clId="{5FA6CE73-62F5-4FEE-BBB5-7F1A9A603EA6}" dt="2025-02-14T13:09:39.145" v="5485" actId="20577"/>
          <ac:spMkLst>
            <pc:docMk/>
            <pc:sldMk cId="2164203082" sldId="2147481529"/>
            <ac:spMk id="87" creationId="{F110D102-BD5E-9619-CCFF-2290AD9A75EF}"/>
          </ac:spMkLst>
        </pc:spChg>
        <pc:spChg chg="mod">
          <ac:chgData name="Faure, Didier" userId="791ba54c-1f49-4f2e-b537-01eab0413206" providerId="ADAL" clId="{5FA6CE73-62F5-4FEE-BBB5-7F1A9A603EA6}" dt="2025-02-14T14:13:40.061" v="5578" actId="5793"/>
          <ac:spMkLst>
            <pc:docMk/>
            <pc:sldMk cId="2164203082" sldId="2147481529"/>
            <ac:spMk id="89" creationId="{92B33583-B78B-3838-A775-6DB271509FE7}"/>
          </ac:spMkLst>
        </pc:spChg>
        <pc:spChg chg="mod">
          <ac:chgData name="Faure, Didier" userId="791ba54c-1f49-4f2e-b537-01eab0413206" providerId="ADAL" clId="{5FA6CE73-62F5-4FEE-BBB5-7F1A9A603EA6}" dt="2025-02-14T14:15:32.716" v="5604" actId="20577"/>
          <ac:spMkLst>
            <pc:docMk/>
            <pc:sldMk cId="2164203082" sldId="2147481529"/>
            <ac:spMk id="90" creationId="{087BDA7C-550E-8C44-8904-10E118485546}"/>
          </ac:spMkLst>
        </pc:spChg>
        <pc:spChg chg="mod">
          <ac:chgData name="Faure, Didier" userId="791ba54c-1f49-4f2e-b537-01eab0413206" providerId="ADAL" clId="{5FA6CE73-62F5-4FEE-BBB5-7F1A9A603EA6}" dt="2025-02-14T12:44:12.744" v="5466" actId="1076"/>
          <ac:spMkLst>
            <pc:docMk/>
            <pc:sldMk cId="2164203082" sldId="2147481529"/>
            <ac:spMk id="99" creationId="{031ED419-5B19-3F0B-5703-0892586118A3}"/>
          </ac:spMkLst>
        </pc:spChg>
        <pc:picChg chg="del">
          <ac:chgData name="Faure, Didier" userId="791ba54c-1f49-4f2e-b537-01eab0413206" providerId="ADAL" clId="{5FA6CE73-62F5-4FEE-BBB5-7F1A9A603EA6}" dt="2025-02-14T12:40:10.546" v="5363" actId="478"/>
          <ac:picMkLst>
            <pc:docMk/>
            <pc:sldMk cId="2164203082" sldId="2147481529"/>
            <ac:picMk id="2" creationId="{3047F771-BADC-CDBB-CCC5-A00811A9DDD7}"/>
          </ac:picMkLst>
        </pc:picChg>
        <pc:picChg chg="del">
          <ac:chgData name="Faure, Didier" userId="791ba54c-1f49-4f2e-b537-01eab0413206" providerId="ADAL" clId="{5FA6CE73-62F5-4FEE-BBB5-7F1A9A603EA6}" dt="2025-02-14T12:40:08.547" v="5361" actId="478"/>
          <ac:picMkLst>
            <pc:docMk/>
            <pc:sldMk cId="2164203082" sldId="2147481529"/>
            <ac:picMk id="9" creationId="{DDAD4C1A-DD43-86CA-F584-2BC373FF3D37}"/>
          </ac:picMkLst>
        </pc:picChg>
        <pc:picChg chg="del">
          <ac:chgData name="Faure, Didier" userId="791ba54c-1f49-4f2e-b537-01eab0413206" providerId="ADAL" clId="{5FA6CE73-62F5-4FEE-BBB5-7F1A9A603EA6}" dt="2025-02-14T12:40:07.706" v="5360" actId="478"/>
          <ac:picMkLst>
            <pc:docMk/>
            <pc:sldMk cId="2164203082" sldId="2147481529"/>
            <ac:picMk id="10" creationId="{84DD620F-E8F9-C3A8-6EBD-901A1C89D330}"/>
          </ac:picMkLst>
        </pc:picChg>
        <pc:picChg chg="del">
          <ac:chgData name="Faure, Didier" userId="791ba54c-1f49-4f2e-b537-01eab0413206" providerId="ADAL" clId="{5FA6CE73-62F5-4FEE-BBB5-7F1A9A603EA6}" dt="2025-02-14T12:40:09.218" v="5362" actId="478"/>
          <ac:picMkLst>
            <pc:docMk/>
            <pc:sldMk cId="2164203082" sldId="2147481529"/>
            <ac:picMk id="11" creationId="{2002826C-CA6B-7E6F-A67D-890D35EF5FC7}"/>
          </ac:picMkLst>
        </pc:picChg>
        <pc:picChg chg="del">
          <ac:chgData name="Faure, Didier" userId="791ba54c-1f49-4f2e-b537-01eab0413206" providerId="ADAL" clId="{5FA6CE73-62F5-4FEE-BBB5-7F1A9A603EA6}" dt="2025-02-14T12:40:11.976" v="5364" actId="478"/>
          <ac:picMkLst>
            <pc:docMk/>
            <pc:sldMk cId="2164203082" sldId="2147481529"/>
            <ac:picMk id="12" creationId="{3815C72F-5E44-89A2-E7F0-C8B200B17BB8}"/>
          </ac:picMkLst>
        </pc:picChg>
        <pc:picChg chg="del">
          <ac:chgData name="Faure, Didier" userId="791ba54c-1f49-4f2e-b537-01eab0413206" providerId="ADAL" clId="{5FA6CE73-62F5-4FEE-BBB5-7F1A9A603EA6}" dt="2025-02-14T12:39:57.904" v="5356" actId="478"/>
          <ac:picMkLst>
            <pc:docMk/>
            <pc:sldMk cId="2164203082" sldId="2147481529"/>
            <ac:picMk id="15" creationId="{85DBE63F-C758-CC66-234A-EE22AE9A6056}"/>
          </ac:picMkLst>
        </pc:picChg>
        <pc:picChg chg="del">
          <ac:chgData name="Faure, Didier" userId="791ba54c-1f49-4f2e-b537-01eab0413206" providerId="ADAL" clId="{5FA6CE73-62F5-4FEE-BBB5-7F1A9A603EA6}" dt="2025-02-14T12:39:59.211" v="5357" actId="478"/>
          <ac:picMkLst>
            <pc:docMk/>
            <pc:sldMk cId="2164203082" sldId="2147481529"/>
            <ac:picMk id="17" creationId="{B898CD7F-AAE8-FDFE-D516-DCA5851D728C}"/>
          </ac:picMkLst>
        </pc:picChg>
        <pc:picChg chg="del">
          <ac:chgData name="Faure, Didier" userId="791ba54c-1f49-4f2e-b537-01eab0413206" providerId="ADAL" clId="{5FA6CE73-62F5-4FEE-BBB5-7F1A9A603EA6}" dt="2025-02-14T12:40:00.208" v="5358" actId="478"/>
          <ac:picMkLst>
            <pc:docMk/>
            <pc:sldMk cId="2164203082" sldId="2147481529"/>
            <ac:picMk id="19" creationId="{D71CE748-20CB-DF9C-F204-2868388C0179}"/>
          </ac:picMkLst>
        </pc:picChg>
        <pc:picChg chg="del">
          <ac:chgData name="Faure, Didier" userId="791ba54c-1f49-4f2e-b537-01eab0413206" providerId="ADAL" clId="{5FA6CE73-62F5-4FEE-BBB5-7F1A9A603EA6}" dt="2025-02-14T12:40:01.725" v="5359" actId="478"/>
          <ac:picMkLst>
            <pc:docMk/>
            <pc:sldMk cId="2164203082" sldId="2147481529"/>
            <ac:picMk id="21" creationId="{DF336ACB-E467-55EF-C35C-66C93BB35D0F}"/>
          </ac:picMkLst>
        </pc:picChg>
      </pc:sldChg>
      <pc:sldChg chg="del">
        <pc:chgData name="Faure, Didier" userId="791ba54c-1f49-4f2e-b537-01eab0413206" providerId="ADAL" clId="{5FA6CE73-62F5-4FEE-BBB5-7F1A9A603EA6}" dt="2025-02-10T17:20:28.302" v="3" actId="47"/>
        <pc:sldMkLst>
          <pc:docMk/>
          <pc:sldMk cId="3913440041" sldId="2147481537"/>
        </pc:sldMkLst>
      </pc:sldChg>
      <pc:sldChg chg="del">
        <pc:chgData name="Faure, Didier" userId="791ba54c-1f49-4f2e-b537-01eab0413206" providerId="ADAL" clId="{5FA6CE73-62F5-4FEE-BBB5-7F1A9A603EA6}" dt="2025-02-10T17:20:35.835" v="4" actId="47"/>
        <pc:sldMkLst>
          <pc:docMk/>
          <pc:sldMk cId="148180158" sldId="2147481538"/>
        </pc:sldMkLst>
      </pc:sldChg>
      <pc:sldChg chg="del">
        <pc:chgData name="Faure, Didier" userId="791ba54c-1f49-4f2e-b537-01eab0413206" providerId="ADAL" clId="{5FA6CE73-62F5-4FEE-BBB5-7F1A9A603EA6}" dt="2025-02-10T17:20:27.579" v="2" actId="47"/>
        <pc:sldMkLst>
          <pc:docMk/>
          <pc:sldMk cId="4275293963" sldId="2147481540"/>
        </pc:sldMkLst>
      </pc:sldChg>
      <pc:sldMasterChg chg="delSldLayout">
        <pc:chgData name="Faure, Didier" userId="791ba54c-1f49-4f2e-b537-01eab0413206" providerId="ADAL" clId="{5FA6CE73-62F5-4FEE-BBB5-7F1A9A603EA6}" dt="2025-02-14T12:38:11.471" v="5348" actId="47"/>
        <pc:sldMasterMkLst>
          <pc:docMk/>
          <pc:sldMasterMk cId="4281836575" sldId="2147483697"/>
        </pc:sldMasterMkLst>
        <pc:sldLayoutChg chg="del">
          <pc:chgData name="Faure, Didier" userId="791ba54c-1f49-4f2e-b537-01eab0413206" providerId="ADAL" clId="{5FA6CE73-62F5-4FEE-BBB5-7F1A9A603EA6}" dt="2025-02-14T12:38:11.471" v="5348" actId="47"/>
          <pc:sldLayoutMkLst>
            <pc:docMk/>
            <pc:sldMasterMk cId="4281836575" sldId="2147483697"/>
            <pc:sldLayoutMk cId="1974055708" sldId="2147483709"/>
          </pc:sldLayoutMkLst>
        </pc:sldLayoutChg>
        <pc:sldLayoutChg chg="del">
          <pc:chgData name="Faure, Didier" userId="791ba54c-1f49-4f2e-b537-01eab0413206" providerId="ADAL" clId="{5FA6CE73-62F5-4FEE-BBB5-7F1A9A603EA6}" dt="2025-02-10T17:20:35.835" v="4" actId="47"/>
          <pc:sldLayoutMkLst>
            <pc:docMk/>
            <pc:sldMasterMk cId="4281836575" sldId="2147483697"/>
            <pc:sldLayoutMk cId="2075356088" sldId="2147483714"/>
          </pc:sldLayoutMkLst>
        </pc:sldLayoutChg>
      </pc:sldMasterChg>
    </pc:docChg>
  </pc:docChgLst>
  <pc:docChgLst>
    <pc:chgData name="Faure, Didier" userId="791ba54c-1f49-4f2e-b537-01eab0413206" providerId="ADAL" clId="{6B68B735-A0D2-461C-9382-723C19D54B8E}"/>
    <pc:docChg chg="custSel modSld">
      <pc:chgData name="Faure, Didier" userId="791ba54c-1f49-4f2e-b537-01eab0413206" providerId="ADAL" clId="{6B68B735-A0D2-461C-9382-723C19D54B8E}" dt="2024-11-22T18:16:38.708" v="7" actId="6549"/>
      <pc:docMkLst>
        <pc:docMk/>
      </pc:docMkLst>
      <pc:sldChg chg="delSp modSp mod">
        <pc:chgData name="Faure, Didier" userId="791ba54c-1f49-4f2e-b537-01eab0413206" providerId="ADAL" clId="{6B68B735-A0D2-461C-9382-723C19D54B8E}" dt="2024-11-22T18:16:38.708" v="7" actId="6549"/>
        <pc:sldMkLst>
          <pc:docMk/>
          <pc:sldMk cId="3345766336" sldId="2147481521"/>
        </pc:sldMkLst>
        <pc:spChg chg="del">
          <ac:chgData name="Faure, Didier" userId="791ba54c-1f49-4f2e-b537-01eab0413206" providerId="ADAL" clId="{6B68B735-A0D2-461C-9382-723C19D54B8E}" dt="2024-11-22T18:16:13.674" v="0" actId="478"/>
          <ac:spMkLst>
            <pc:docMk/>
            <pc:sldMk cId="3345766336" sldId="2147481521"/>
            <ac:spMk id="44" creationId="{4B8483B9-5165-28EA-0B9D-118116DDD769}"/>
          </ac:spMkLst>
        </pc:spChg>
        <pc:spChg chg="mod">
          <ac:chgData name="Faure, Didier" userId="791ba54c-1f49-4f2e-b537-01eab0413206" providerId="ADAL" clId="{6B68B735-A0D2-461C-9382-723C19D54B8E}" dt="2024-11-22T18:16:38.708" v="7" actId="6549"/>
          <ac:spMkLst>
            <pc:docMk/>
            <pc:sldMk cId="3345766336" sldId="2147481521"/>
            <ac:spMk id="62" creationId="{C8150B97-541C-BC17-A789-56F8312ED4DB}"/>
          </ac:spMkLst>
        </pc:spChg>
      </pc:sldChg>
    </pc:docChg>
  </pc:docChgLst>
  <pc:docChgLst>
    <pc:chgData name="Faure, Didier" userId="791ba54c-1f49-4f2e-b537-01eab0413206" providerId="ADAL" clId="{17C9678C-155C-41EC-A149-D2C4175C7C35}"/>
    <pc:docChg chg="undo custSel modSld">
      <pc:chgData name="Faure, Didier" userId="791ba54c-1f49-4f2e-b537-01eab0413206" providerId="ADAL" clId="{17C9678C-155C-41EC-A149-D2C4175C7C35}" dt="2024-10-14T16:40:11.526" v="137" actId="1035"/>
      <pc:docMkLst>
        <pc:docMk/>
      </pc:docMkLst>
      <pc:sldChg chg="modSp mod">
        <pc:chgData name="Faure, Didier" userId="791ba54c-1f49-4f2e-b537-01eab0413206" providerId="ADAL" clId="{17C9678C-155C-41EC-A149-D2C4175C7C35}" dt="2024-10-14T16:06:52.061" v="64" actId="20577"/>
        <pc:sldMkLst>
          <pc:docMk/>
          <pc:sldMk cId="3913440041" sldId="2147481537"/>
        </pc:sldMkLst>
        <pc:spChg chg="mod">
          <ac:chgData name="Faure, Didier" userId="791ba54c-1f49-4f2e-b537-01eab0413206" providerId="ADAL" clId="{17C9678C-155C-41EC-A149-D2C4175C7C35}" dt="2024-10-14T16:06:52.061" v="64" actId="20577"/>
          <ac:spMkLst>
            <pc:docMk/>
            <pc:sldMk cId="3913440041" sldId="2147481537"/>
            <ac:spMk id="65" creationId="{6F5CBB1E-7EAD-1268-BE31-C74056578596}"/>
          </ac:spMkLst>
        </pc:spChg>
      </pc:sldChg>
      <pc:sldChg chg="modSp mod">
        <pc:chgData name="Faure, Didier" userId="791ba54c-1f49-4f2e-b537-01eab0413206" providerId="ADAL" clId="{17C9678C-155C-41EC-A149-D2C4175C7C35}" dt="2024-10-14T16:40:11.526" v="137" actId="1035"/>
        <pc:sldMkLst>
          <pc:docMk/>
          <pc:sldMk cId="148180158" sldId="2147481538"/>
        </pc:sldMkLst>
        <pc:spChg chg="mod">
          <ac:chgData name="Faure, Didier" userId="791ba54c-1f49-4f2e-b537-01eab0413206" providerId="ADAL" clId="{17C9678C-155C-41EC-A149-D2C4175C7C35}" dt="2024-10-14T16:40:11.526" v="137" actId="1035"/>
          <ac:spMkLst>
            <pc:docMk/>
            <pc:sldMk cId="148180158" sldId="2147481538"/>
            <ac:spMk id="75" creationId="{ED133E87-7334-5DAE-45D3-5C83D05C9F54}"/>
          </ac:spMkLst>
        </pc:spChg>
      </pc:sldChg>
    </pc:docChg>
  </pc:docChgLst>
  <pc:docChgLst>
    <pc:chgData name="Boufagher, Mehdy" userId="S::115816@sidel.com::a8e82b8c-6d9f-4cb3-895e-aa54cfd06ba1" providerId="AD" clId="Web-{0C179630-32E6-4C44-B534-D19BC548A4DD}"/>
    <pc:docChg chg="modSld">
      <pc:chgData name="Boufagher, Mehdy" userId="S::115816@sidel.com::a8e82b8c-6d9f-4cb3-895e-aa54cfd06ba1" providerId="AD" clId="Web-{0C179630-32E6-4C44-B534-D19BC548A4DD}" dt="2025-03-31T07:54:48.248" v="21" actId="14100"/>
      <pc:docMkLst>
        <pc:docMk/>
      </pc:docMkLst>
      <pc:sldChg chg="modSp">
        <pc:chgData name="Boufagher, Mehdy" userId="S::115816@sidel.com::a8e82b8c-6d9f-4cb3-895e-aa54cfd06ba1" providerId="AD" clId="Web-{0C179630-32E6-4C44-B534-D19BC548A4DD}" dt="2025-03-31T07:54:48.248" v="21" actId="14100"/>
        <pc:sldMkLst>
          <pc:docMk/>
          <pc:sldMk cId="4193791004" sldId="256"/>
        </pc:sldMkLst>
        <pc:spChg chg="mod">
          <ac:chgData name="Boufagher, Mehdy" userId="S::115816@sidel.com::a8e82b8c-6d9f-4cb3-895e-aa54cfd06ba1" providerId="AD" clId="Web-{0C179630-32E6-4C44-B534-D19BC548A4DD}" dt="2025-03-31T07:54:48.248" v="21" actId="14100"/>
          <ac:spMkLst>
            <pc:docMk/>
            <pc:sldMk cId="4193791004" sldId="256"/>
            <ac:spMk id="8" creationId="{0588ACAB-BA08-6D93-4ABA-029752FAC1AB}"/>
          </ac:spMkLst>
        </pc:spChg>
        <pc:spChg chg="mod">
          <ac:chgData name="Boufagher, Mehdy" userId="S::115816@sidel.com::a8e82b8c-6d9f-4cb3-895e-aa54cfd06ba1" providerId="AD" clId="Web-{0C179630-32E6-4C44-B534-D19BC548A4DD}" dt="2025-03-31T07:54:19.982" v="18" actId="20577"/>
          <ac:spMkLst>
            <pc:docMk/>
            <pc:sldMk cId="4193791004" sldId="256"/>
            <ac:spMk id="73" creationId="{12EB70C3-9807-83CD-C6D7-8DA816CD10C5}"/>
          </ac:spMkLst>
        </pc:spChg>
      </pc:sldChg>
    </pc:docChg>
  </pc:docChgLst>
  <pc:docChgLst>
    <pc:chgData name="Faure, Didier" userId="791ba54c-1f49-4f2e-b537-01eab0413206" providerId="ADAL" clId="{0B338287-EBA2-4A09-BF45-D191DAB1E733}"/>
    <pc:docChg chg="undo redo custSel delSld modSld">
      <pc:chgData name="Faure, Didier" userId="791ba54c-1f49-4f2e-b537-01eab0413206" providerId="ADAL" clId="{0B338287-EBA2-4A09-BF45-D191DAB1E733}" dt="2025-03-28T17:44:45.727" v="239" actId="20577"/>
      <pc:docMkLst>
        <pc:docMk/>
      </pc:docMkLst>
      <pc:sldChg chg="modSp mod">
        <pc:chgData name="Faure, Didier" userId="791ba54c-1f49-4f2e-b537-01eab0413206" providerId="ADAL" clId="{0B338287-EBA2-4A09-BF45-D191DAB1E733}" dt="2025-03-28T17:44:45.727" v="239" actId="20577"/>
        <pc:sldMkLst>
          <pc:docMk/>
          <pc:sldMk cId="4193791004" sldId="256"/>
        </pc:sldMkLst>
        <pc:spChg chg="mod">
          <ac:chgData name="Faure, Didier" userId="791ba54c-1f49-4f2e-b537-01eab0413206" providerId="ADAL" clId="{0B338287-EBA2-4A09-BF45-D191DAB1E733}" dt="2025-03-28T17:20:08.577" v="147" actId="1036"/>
          <ac:spMkLst>
            <pc:docMk/>
            <pc:sldMk cId="4193791004" sldId="256"/>
            <ac:spMk id="5" creationId="{11983A11-2B0E-05C7-7CEA-4008B7D0754E}"/>
          </ac:spMkLst>
        </pc:spChg>
        <pc:spChg chg="mod">
          <ac:chgData name="Faure, Didier" userId="791ba54c-1f49-4f2e-b537-01eab0413206" providerId="ADAL" clId="{0B338287-EBA2-4A09-BF45-D191DAB1E733}" dt="2025-03-28T17:20:08.577" v="147" actId="1036"/>
          <ac:spMkLst>
            <pc:docMk/>
            <pc:sldMk cId="4193791004" sldId="256"/>
            <ac:spMk id="7" creationId="{E99B0361-37D6-947D-85C2-CD0C2C2D60DD}"/>
          </ac:spMkLst>
        </pc:spChg>
        <pc:spChg chg="mod">
          <ac:chgData name="Faure, Didier" userId="791ba54c-1f49-4f2e-b537-01eab0413206" providerId="ADAL" clId="{0B338287-EBA2-4A09-BF45-D191DAB1E733}" dt="2025-03-28T17:35:12.183" v="202" actId="20577"/>
          <ac:spMkLst>
            <pc:docMk/>
            <pc:sldMk cId="4193791004" sldId="256"/>
            <ac:spMk id="45" creationId="{462D28B0-096D-D35E-8480-2F192B64945A}"/>
          </ac:spMkLst>
        </pc:spChg>
        <pc:spChg chg="mod">
          <ac:chgData name="Faure, Didier" userId="791ba54c-1f49-4f2e-b537-01eab0413206" providerId="ADAL" clId="{0B338287-EBA2-4A09-BF45-D191DAB1E733}" dt="2025-03-28T16:56:01.893" v="8" actId="20577"/>
          <ac:spMkLst>
            <pc:docMk/>
            <pc:sldMk cId="4193791004" sldId="256"/>
            <ac:spMk id="52" creationId="{2D983DB6-86B6-2BF3-FCC8-46E7B8EBA5A3}"/>
          </ac:spMkLst>
        </pc:spChg>
        <pc:spChg chg="mod">
          <ac:chgData name="Faure, Didier" userId="791ba54c-1f49-4f2e-b537-01eab0413206" providerId="ADAL" clId="{0B338287-EBA2-4A09-BF45-D191DAB1E733}" dt="2025-03-28T17:44:45.727" v="239" actId="20577"/>
          <ac:spMkLst>
            <pc:docMk/>
            <pc:sldMk cId="4193791004" sldId="256"/>
            <ac:spMk id="62" creationId="{C8150B97-541C-BC17-A789-56F8312ED4DB}"/>
          </ac:spMkLst>
        </pc:spChg>
        <pc:spChg chg="mod">
          <ac:chgData name="Faure, Didier" userId="791ba54c-1f49-4f2e-b537-01eab0413206" providerId="ADAL" clId="{0B338287-EBA2-4A09-BF45-D191DAB1E733}" dt="2025-03-28T17:36:40.487" v="203" actId="207"/>
          <ac:spMkLst>
            <pc:docMk/>
            <pc:sldMk cId="4193791004" sldId="256"/>
            <ac:spMk id="73" creationId="{12EB70C3-9807-83CD-C6D7-8DA816CD10C5}"/>
          </ac:spMkLst>
        </pc:spChg>
      </pc:sldChg>
      <pc:sldChg chg="del">
        <pc:chgData name="Faure, Didier" userId="791ba54c-1f49-4f2e-b537-01eab0413206" providerId="ADAL" clId="{0B338287-EBA2-4A09-BF45-D191DAB1E733}" dt="2025-03-28T16:14:55.477" v="1" actId="47"/>
        <pc:sldMkLst>
          <pc:docMk/>
          <pc:sldMk cId="2397911690" sldId="382"/>
        </pc:sldMkLst>
      </pc:sldChg>
      <pc:sldChg chg="del">
        <pc:chgData name="Faure, Didier" userId="791ba54c-1f49-4f2e-b537-01eab0413206" providerId="ADAL" clId="{0B338287-EBA2-4A09-BF45-D191DAB1E733}" dt="2025-03-28T16:14:59.431" v="2" actId="47"/>
        <pc:sldMkLst>
          <pc:docMk/>
          <pc:sldMk cId="4249387660" sldId="392"/>
        </pc:sldMkLst>
      </pc:sldChg>
      <pc:sldChg chg="del">
        <pc:chgData name="Faure, Didier" userId="791ba54c-1f49-4f2e-b537-01eab0413206" providerId="ADAL" clId="{0B338287-EBA2-4A09-BF45-D191DAB1E733}" dt="2025-03-28T16:14:55.477" v="1" actId="47"/>
        <pc:sldMkLst>
          <pc:docMk/>
          <pc:sldMk cId="3070252071" sldId="530"/>
        </pc:sldMkLst>
      </pc:sldChg>
      <pc:sldChg chg="del">
        <pc:chgData name="Faure, Didier" userId="791ba54c-1f49-4f2e-b537-01eab0413206" providerId="ADAL" clId="{0B338287-EBA2-4A09-BF45-D191DAB1E733}" dt="2025-03-28T16:14:59.431" v="2" actId="47"/>
        <pc:sldMkLst>
          <pc:docMk/>
          <pc:sldMk cId="3994532435" sldId="533"/>
        </pc:sldMkLst>
      </pc:sldChg>
      <pc:sldChg chg="del">
        <pc:chgData name="Faure, Didier" userId="791ba54c-1f49-4f2e-b537-01eab0413206" providerId="ADAL" clId="{0B338287-EBA2-4A09-BF45-D191DAB1E733}" dt="2025-03-28T16:14:59.431" v="2" actId="47"/>
        <pc:sldMkLst>
          <pc:docMk/>
          <pc:sldMk cId="1454704501" sldId="535"/>
        </pc:sldMkLst>
      </pc:sldChg>
      <pc:sldChg chg="del">
        <pc:chgData name="Faure, Didier" userId="791ba54c-1f49-4f2e-b537-01eab0413206" providerId="ADAL" clId="{0B338287-EBA2-4A09-BF45-D191DAB1E733}" dt="2025-03-28T16:14:59.431" v="2" actId="47"/>
        <pc:sldMkLst>
          <pc:docMk/>
          <pc:sldMk cId="1633715087" sldId="536"/>
        </pc:sldMkLst>
      </pc:sldChg>
      <pc:sldChg chg="del">
        <pc:chgData name="Faure, Didier" userId="791ba54c-1f49-4f2e-b537-01eab0413206" providerId="ADAL" clId="{0B338287-EBA2-4A09-BF45-D191DAB1E733}" dt="2025-03-28T16:14:47.583" v="0" actId="47"/>
        <pc:sldMkLst>
          <pc:docMk/>
          <pc:sldMk cId="4000004839" sldId="2147476634"/>
        </pc:sldMkLst>
      </pc:sldChg>
      <pc:sldChg chg="del">
        <pc:chgData name="Faure, Didier" userId="791ba54c-1f49-4f2e-b537-01eab0413206" providerId="ADAL" clId="{0B338287-EBA2-4A09-BF45-D191DAB1E733}" dt="2025-03-28T16:14:47.583" v="0" actId="47"/>
        <pc:sldMkLst>
          <pc:docMk/>
          <pc:sldMk cId="2008759033" sldId="2147481522"/>
        </pc:sldMkLst>
      </pc:sldChg>
      <pc:sldChg chg="del">
        <pc:chgData name="Faure, Didier" userId="791ba54c-1f49-4f2e-b537-01eab0413206" providerId="ADAL" clId="{0B338287-EBA2-4A09-BF45-D191DAB1E733}" dt="2025-03-28T16:14:47.583" v="0" actId="47"/>
        <pc:sldMkLst>
          <pc:docMk/>
          <pc:sldMk cId="505702371" sldId="2147481525"/>
        </pc:sldMkLst>
      </pc:sldChg>
      <pc:sldChg chg="del">
        <pc:chgData name="Faure, Didier" userId="791ba54c-1f49-4f2e-b537-01eab0413206" providerId="ADAL" clId="{0B338287-EBA2-4A09-BF45-D191DAB1E733}" dt="2025-03-28T16:14:47.583" v="0" actId="47"/>
        <pc:sldMkLst>
          <pc:docMk/>
          <pc:sldMk cId="3161551992" sldId="2147481526"/>
        </pc:sldMkLst>
      </pc:sldChg>
      <pc:sldChg chg="del">
        <pc:chgData name="Faure, Didier" userId="791ba54c-1f49-4f2e-b537-01eab0413206" providerId="ADAL" clId="{0B338287-EBA2-4A09-BF45-D191DAB1E733}" dt="2025-03-28T16:14:55.477" v="1" actId="47"/>
        <pc:sldMkLst>
          <pc:docMk/>
          <pc:sldMk cId="2992453240" sldId="2147481527"/>
        </pc:sldMkLst>
      </pc:sldChg>
      <pc:sldChg chg="del">
        <pc:chgData name="Faure, Didier" userId="791ba54c-1f49-4f2e-b537-01eab0413206" providerId="ADAL" clId="{0B338287-EBA2-4A09-BF45-D191DAB1E733}" dt="2025-03-28T16:14:55.477" v="1" actId="47"/>
        <pc:sldMkLst>
          <pc:docMk/>
          <pc:sldMk cId="4287068887" sldId="2147481528"/>
        </pc:sldMkLst>
      </pc:sldChg>
      <pc:sldChg chg="del">
        <pc:chgData name="Faure, Didier" userId="791ba54c-1f49-4f2e-b537-01eab0413206" providerId="ADAL" clId="{0B338287-EBA2-4A09-BF45-D191DAB1E733}" dt="2025-03-28T16:14:55.477" v="1" actId="47"/>
        <pc:sldMkLst>
          <pc:docMk/>
          <pc:sldMk cId="2164203082" sldId="2147481529"/>
        </pc:sldMkLst>
      </pc:sldChg>
      <pc:sldMasterChg chg="delSldLayout">
        <pc:chgData name="Faure, Didier" userId="791ba54c-1f49-4f2e-b537-01eab0413206" providerId="ADAL" clId="{0B338287-EBA2-4A09-BF45-D191DAB1E733}" dt="2025-03-28T16:14:59.431" v="2" actId="47"/>
        <pc:sldMasterMkLst>
          <pc:docMk/>
          <pc:sldMasterMk cId="4281836575" sldId="2147483697"/>
        </pc:sldMasterMkLst>
        <pc:sldLayoutChg chg="del">
          <pc:chgData name="Faure, Didier" userId="791ba54c-1f49-4f2e-b537-01eab0413206" providerId="ADAL" clId="{0B338287-EBA2-4A09-BF45-D191DAB1E733}" dt="2025-03-28T16:14:47.583" v="0" actId="47"/>
          <pc:sldLayoutMkLst>
            <pc:docMk/>
            <pc:sldMasterMk cId="4281836575" sldId="2147483697"/>
            <pc:sldLayoutMk cId="1458691814" sldId="2147483707"/>
          </pc:sldLayoutMkLst>
        </pc:sldLayoutChg>
        <pc:sldLayoutChg chg="del">
          <pc:chgData name="Faure, Didier" userId="791ba54c-1f49-4f2e-b537-01eab0413206" providerId="ADAL" clId="{0B338287-EBA2-4A09-BF45-D191DAB1E733}" dt="2025-03-28T16:14:59.431" v="2" actId="47"/>
          <pc:sldLayoutMkLst>
            <pc:docMk/>
            <pc:sldMasterMk cId="4281836575" sldId="2147483697"/>
            <pc:sldLayoutMk cId="1818814805" sldId="2147483709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31/03/2025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31/03/2025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93738" y="858838"/>
            <a:ext cx="5635625" cy="31702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45181" y="4273030"/>
            <a:ext cx="6132739" cy="433788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10" Type="http://schemas.openxmlformats.org/officeDocument/2006/relationships/image" Target="../media/image10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8.png"/><Relationship Id="rId5" Type="http://schemas.microsoft.com/office/2007/relationships/hdphoto" Target="../media/hdphoto2.wdp"/><Relationship Id="rId10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11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>
            <a:extLst>
              <a:ext uri="{FF2B5EF4-FFF2-40B4-BE49-F238E27FC236}">
                <a16:creationId xmlns:a16="http://schemas.microsoft.com/office/drawing/2014/main" id="{FA2510D7-CC17-FE52-1049-CBA1E7AE4D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65951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684243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63600" y="599650"/>
            <a:ext cx="10896600" cy="615553"/>
          </a:xfrm>
        </p:spPr>
        <p:txBody>
          <a:bodyPr/>
          <a:lstStyle>
            <a:lvl1pPr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63603" y="2156108"/>
            <a:ext cx="8544983" cy="9233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0958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4BF53E07-51CC-1A4E-979B-1B04FA13D9D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24231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4353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506E0756-7972-6F73-2124-3B1EDC9742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55444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7F48235E-C0A5-9B60-C41E-3DB78AD36329}"/>
              </a:ext>
            </a:extLst>
          </p:cNvPr>
          <p:cNvSpPr/>
          <p:nvPr userDrawn="1"/>
        </p:nvSpPr>
        <p:spPr>
          <a:xfrm>
            <a:off x="0" y="5984875"/>
            <a:ext cx="12192000" cy="403173"/>
          </a:xfrm>
          <a:prstGeom prst="rect">
            <a:avLst/>
          </a:prstGeom>
          <a:gradFill flip="none" rotWithShape="1"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38801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024F1314-518B-4926-0D71-6F6B692106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489077"/>
            <a:ext cx="6338711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394222" y="1489077"/>
            <a:ext cx="4126795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EBDA5F96-A3A5-A34E-A335-BB9C1E6495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7940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024F1314-518B-4926-0D71-6F6B692106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2CD3F38A-7F98-AA44-B64F-90F203FAF5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489081"/>
            <a:ext cx="5183717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A924745B-0FCD-EC44-8F63-62B2A920A7D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65717" y="3844930"/>
            <a:ext cx="51816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8CA1F3E-39BE-F94F-B5F6-4DE5F975BA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35188" y="1489075"/>
            <a:ext cx="5185833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1923CA74-2F1B-5C44-83FB-58C3020A0C6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35188" y="3844930"/>
            <a:ext cx="5185833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08675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245069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magine 9">
            <a:extLst>
              <a:ext uri="{FF2B5EF4-FFF2-40B4-BE49-F238E27FC236}">
                <a16:creationId xmlns:a16="http://schemas.microsoft.com/office/drawing/2014/main" id="{001BCEA2-5E47-2DC8-6444-F41DACA365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alphaModFix amt="8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3172"/>
          <a:stretch/>
        </p:blipFill>
        <p:spPr>
          <a:xfrm>
            <a:off x="0" y="0"/>
            <a:ext cx="12192000" cy="6880485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F7C94DC8-FCBD-1750-1EF4-3EB5A10EB81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6844" y="-11045"/>
            <a:ext cx="6685155" cy="6867981"/>
          </a:xfrm>
          <a:prstGeom prst="rect">
            <a:avLst/>
          </a:prstGeom>
        </p:spPr>
      </p:pic>
      <p:sp>
        <p:nvSpPr>
          <p:cNvPr id="14" name="Rectangle 2">
            <a:extLst>
              <a:ext uri="{FF2B5EF4-FFF2-40B4-BE49-F238E27FC236}">
                <a16:creationId xmlns:a16="http://schemas.microsoft.com/office/drawing/2014/main" id="{B4606B1D-9367-5D83-7BA1-3A214F707FF3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863602" y="2507780"/>
            <a:ext cx="10657417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0B3FF4E0-797F-3036-9F5D-4B329247ED7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863602" y="3856270"/>
            <a:ext cx="10657417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Figura a mano libera 15">
            <a:extLst>
              <a:ext uri="{FF2B5EF4-FFF2-40B4-BE49-F238E27FC236}">
                <a16:creationId xmlns:a16="http://schemas.microsoft.com/office/drawing/2014/main" id="{9ED2AC75-4AF3-B7BA-08A2-6B0FD27A3A3E}"/>
              </a:ext>
            </a:extLst>
          </p:cNvPr>
          <p:cNvSpPr/>
          <p:nvPr userDrawn="1"/>
        </p:nvSpPr>
        <p:spPr>
          <a:xfrm>
            <a:off x="6462942" y="0"/>
            <a:ext cx="3806928" cy="5216400"/>
          </a:xfrm>
          <a:custGeom>
            <a:avLst/>
            <a:gdLst>
              <a:gd name="connsiteX0" fmla="*/ 3005426 w 3806928"/>
              <a:gd name="connsiteY0" fmla="*/ 0 h 5218043"/>
              <a:gd name="connsiteX1" fmla="*/ 3806928 w 3806928"/>
              <a:gd name="connsiteY1" fmla="*/ 0 h 5218043"/>
              <a:gd name="connsiteX2" fmla="*/ 801502 w 3806928"/>
              <a:gd name="connsiteY2" fmla="*/ 5218043 h 5218043"/>
              <a:gd name="connsiteX3" fmla="*/ 0 w 3806928"/>
              <a:gd name="connsiteY3" fmla="*/ 5218043 h 521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6928" h="5218043">
                <a:moveTo>
                  <a:pt x="3005426" y="0"/>
                </a:moveTo>
                <a:lnTo>
                  <a:pt x="3806928" y="0"/>
                </a:lnTo>
                <a:lnTo>
                  <a:pt x="801502" y="5218043"/>
                </a:lnTo>
                <a:lnTo>
                  <a:pt x="0" y="5218043"/>
                </a:lnTo>
                <a:close/>
              </a:path>
            </a:pathLst>
          </a:custGeom>
          <a:solidFill>
            <a:srgbClr val="E74B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pic>
        <p:nvPicPr>
          <p:cNvPr id="3" name="Elemento grafico 2">
            <a:extLst>
              <a:ext uri="{FF2B5EF4-FFF2-40B4-BE49-F238E27FC236}">
                <a16:creationId xmlns:a16="http://schemas.microsoft.com/office/drawing/2014/main" id="{011EBE87-D1BC-586C-2B04-D84C6D5D1C6E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563137" y="6473815"/>
            <a:ext cx="968827" cy="2612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425588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0399F161-3440-D07E-2547-C82CC7565C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 amt="8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3172"/>
          <a:stretch/>
        </p:blipFill>
        <p:spPr>
          <a:xfrm>
            <a:off x="0" y="0"/>
            <a:ext cx="12192000" cy="6880485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9767EF98-B5CE-F584-BCA9-4C53CE9E265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6844" y="-11045"/>
            <a:ext cx="6685155" cy="6867981"/>
          </a:xfrm>
          <a:prstGeom prst="rect">
            <a:avLst/>
          </a:prstGeom>
        </p:spPr>
      </p:pic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0BC8C9E3-55BD-8333-FE46-4616BA64396B}"/>
              </a:ext>
            </a:extLst>
          </p:cNvPr>
          <p:cNvSpPr/>
          <p:nvPr userDrawn="1"/>
        </p:nvSpPr>
        <p:spPr>
          <a:xfrm>
            <a:off x="6462942" y="0"/>
            <a:ext cx="3806928" cy="5218043"/>
          </a:xfrm>
          <a:custGeom>
            <a:avLst/>
            <a:gdLst>
              <a:gd name="connsiteX0" fmla="*/ 3005426 w 3806928"/>
              <a:gd name="connsiteY0" fmla="*/ 0 h 5218043"/>
              <a:gd name="connsiteX1" fmla="*/ 3806928 w 3806928"/>
              <a:gd name="connsiteY1" fmla="*/ 0 h 5218043"/>
              <a:gd name="connsiteX2" fmla="*/ 801502 w 3806928"/>
              <a:gd name="connsiteY2" fmla="*/ 5218043 h 5218043"/>
              <a:gd name="connsiteX3" fmla="*/ 0 w 3806928"/>
              <a:gd name="connsiteY3" fmla="*/ 5218043 h 521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6928" h="5218043">
                <a:moveTo>
                  <a:pt x="3005426" y="0"/>
                </a:moveTo>
                <a:lnTo>
                  <a:pt x="3806928" y="0"/>
                </a:lnTo>
                <a:lnTo>
                  <a:pt x="801502" y="5218043"/>
                </a:lnTo>
                <a:lnTo>
                  <a:pt x="0" y="5218043"/>
                </a:lnTo>
                <a:close/>
              </a:path>
            </a:pathLst>
          </a:custGeom>
          <a:solidFill>
            <a:srgbClr val="E74B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8739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Elemento grafico 3">
            <a:extLst>
              <a:ext uri="{FF2B5EF4-FFF2-40B4-BE49-F238E27FC236}">
                <a16:creationId xmlns:a16="http://schemas.microsoft.com/office/drawing/2014/main" id="{313665F9-F35E-7C8C-0981-6678A62921F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775522" y="5837943"/>
            <a:ext cx="2055875" cy="101555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573247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31D8060-5D9C-5C27-D604-1DBA7EC478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617B576C-4226-6989-CAFA-93D5D9D39B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50F23EA-ED23-5CD0-E54D-4DA26796A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F110B-0450-4B6F-BB78-A250CA749BAC}" type="datetimeFigureOut">
              <a:rPr lang="fr-FR" smtClean="0"/>
              <a:t>31/03/2025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4BEAF53-7F52-376D-4726-8C9A8C88AA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0EADD95-43DE-E783-487E-FE521710B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6CC48-9679-4724-9497-8C7D98F6F85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789705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296926128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99" imgH="399" progId="TCLayout.ActiveDocument.1">
                  <p:embed/>
                </p:oleObj>
              </mc:Choice>
              <mc:Fallback>
                <p:oleObj name="think-cell Folie" r:id="rId13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63600" y="334805"/>
            <a:ext cx="10659533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it-IT" noProof="1"/>
              <a:t>Fare clic per modificare lo stile del titolo dello schema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63604" y="1485901"/>
            <a:ext cx="10656884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863604" y="6471709"/>
            <a:ext cx="47473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4" name="MSIPCMContentMarking" descr="{&quot;HashCode&quot;:238546008,&quot;Placement&quot;:&quot;Footer&quot;,&quot;Top&quot;:524.1047,&quot;Left&quot;:458.909119,&quot;SlideWidth&quot;:960,&quot;SlideHeight&quot;:540}">
            <a:extLst>
              <a:ext uri="{FF2B5EF4-FFF2-40B4-BE49-F238E27FC236}">
                <a16:creationId xmlns:a16="http://schemas.microsoft.com/office/drawing/2014/main" id="{468815B7-2E8A-4978-BD78-431993C37F38}"/>
              </a:ext>
            </a:extLst>
          </p:cNvPr>
          <p:cNvSpPr txBox="1"/>
          <p:nvPr userDrawn="1"/>
        </p:nvSpPr>
        <p:spPr>
          <a:xfrm>
            <a:off x="5837111" y="6656129"/>
            <a:ext cx="535708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700" dirty="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</a:p>
        </p:txBody>
      </p:sp>
      <p:pic>
        <p:nvPicPr>
          <p:cNvPr id="5" name="Elemento grafico 4">
            <a:extLst>
              <a:ext uri="{FF2B5EF4-FFF2-40B4-BE49-F238E27FC236}">
                <a16:creationId xmlns:a16="http://schemas.microsoft.com/office/drawing/2014/main" id="{610A67ED-DBBF-07F9-9DFA-425CFD8F6F6A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580748" y="6479778"/>
            <a:ext cx="938152" cy="252985"/>
          </a:xfrm>
          <a:prstGeom prst="rect">
            <a:avLst/>
          </a:prstGeom>
        </p:spPr>
      </p:pic>
    </p:spTree>
    <p:custDataLst>
      <p:tags r:id="rId11"/>
    </p:custDataLst>
    <p:extLst>
      <p:ext uri="{BB962C8B-B14F-4D97-AF65-F5344CB8AC3E}">
        <p14:creationId xmlns:p14="http://schemas.microsoft.com/office/powerpoint/2010/main" val="42818365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8" r:id="rId1"/>
    <p:sldLayoutId id="2147483700" r:id="rId2"/>
    <p:sldLayoutId id="2147483701" r:id="rId3"/>
    <p:sldLayoutId id="2147483705" r:id="rId4"/>
    <p:sldLayoutId id="2147483702" r:id="rId5"/>
    <p:sldLayoutId id="2147483706" r:id="rId6"/>
    <p:sldLayoutId id="2147483703" r:id="rId7"/>
    <p:sldLayoutId id="2147483704" r:id="rId8"/>
    <p:sldLayoutId id="2147483708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3" pos="544" userDrawn="1">
          <p15:clr>
            <a:srgbClr val="F26B43"/>
          </p15:clr>
        </p15:guide>
        <p15:guide id="5" pos="7257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7423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13" Type="http://schemas.openxmlformats.org/officeDocument/2006/relationships/image" Target="../media/image20.png"/><Relationship Id="rId3" Type="http://schemas.openxmlformats.org/officeDocument/2006/relationships/image" Target="../media/image14.png"/><Relationship Id="rId7" Type="http://schemas.openxmlformats.org/officeDocument/2006/relationships/image" Target="../media/image9.png"/><Relationship Id="rId12" Type="http://schemas.openxmlformats.org/officeDocument/2006/relationships/image" Target="../media/image19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Relationship Id="rId6" Type="http://schemas.microsoft.com/office/2007/relationships/hdphoto" Target="../media/hdphoto4.wdp"/><Relationship Id="rId11" Type="http://schemas.openxmlformats.org/officeDocument/2006/relationships/image" Target="../media/image18.png"/><Relationship Id="rId5" Type="http://schemas.openxmlformats.org/officeDocument/2006/relationships/image" Target="../media/image15.png"/><Relationship Id="rId10" Type="http://schemas.openxmlformats.org/officeDocument/2006/relationships/image" Target="../media/image17.png"/><Relationship Id="rId4" Type="http://schemas.microsoft.com/office/2007/relationships/hdphoto" Target="../media/hdphoto3.wdp"/><Relationship Id="rId9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>
            <a:extLst>
              <a:ext uri="{FF2B5EF4-FFF2-40B4-BE49-F238E27FC236}">
                <a16:creationId xmlns:a16="http://schemas.microsoft.com/office/drawing/2014/main" id="{82AB52D6-7F92-2A4A-94B0-D0BDE22879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99728" y="4747535"/>
            <a:ext cx="3846677" cy="1813818"/>
          </a:xfrm>
          <a:prstGeom prst="rect">
            <a:avLst/>
          </a:prstGeom>
          <a:ln w="25400">
            <a:solidFill>
              <a:schemeClr val="bg1"/>
            </a:solidFill>
          </a:ln>
        </p:spPr>
      </p:pic>
      <p:sp>
        <p:nvSpPr>
          <p:cNvPr id="45" name="Segnaposto testo 38">
            <a:extLst>
              <a:ext uri="{FF2B5EF4-FFF2-40B4-BE49-F238E27FC236}">
                <a16:creationId xmlns:a16="http://schemas.microsoft.com/office/drawing/2014/main" id="{462D28B0-096D-D35E-8480-2F192B64945A}"/>
              </a:ext>
            </a:extLst>
          </p:cNvPr>
          <p:cNvSpPr txBox="1">
            <a:spLocks/>
          </p:cNvSpPr>
          <p:nvPr/>
        </p:nvSpPr>
        <p:spPr>
          <a:xfrm>
            <a:off x="2625254" y="1813984"/>
            <a:ext cx="3240000" cy="2672419"/>
          </a:xfrm>
          <a:prstGeom prst="rect">
            <a:avLst/>
          </a:prstGeom>
          <a:gradFill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lIns="180000" tIns="144000" rIns="180000" bIns="144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indent="-182563">
              <a:spcBef>
                <a:spcPts val="300"/>
              </a:spcBef>
              <a:buClr>
                <a:schemeClr val="folHlink"/>
              </a:buClr>
              <a:buFont typeface="Wingdings" pitchFamily="2" charset="2"/>
              <a:buChar char="§"/>
              <a:defRPr/>
            </a:pPr>
            <a:r>
              <a:rPr lang="en-US" sz="1200" dirty="0"/>
              <a:t>Increase your production capacity through an optimized investment</a:t>
            </a:r>
          </a:p>
          <a:p>
            <a:pPr marL="182563" indent="-182563">
              <a:spcBef>
                <a:spcPts val="300"/>
              </a:spcBef>
              <a:buClr>
                <a:schemeClr val="folHlink"/>
              </a:buClr>
              <a:buFont typeface="Wingdings" pitchFamily="2" charset="2"/>
              <a:buChar char="§"/>
              <a:defRPr/>
            </a:pPr>
            <a:r>
              <a:rPr lang="en-US" sz="1200" dirty="0"/>
              <a:t>Boost your machine productivity </a:t>
            </a:r>
            <a:br>
              <a:rPr lang="en-US" sz="1200" dirty="0"/>
            </a:br>
            <a:r>
              <a:rPr lang="en-US" sz="1200" dirty="0"/>
              <a:t>up to </a:t>
            </a:r>
            <a:r>
              <a:rPr lang="en-US" b="1" dirty="0">
                <a:solidFill>
                  <a:schemeClr val="accent4"/>
                </a:solidFill>
              </a:rPr>
              <a:t>+ 1</a:t>
            </a:r>
            <a:r>
              <a:rPr lang="en-US" sz="1200" b="1" dirty="0">
                <a:solidFill>
                  <a:schemeClr val="accent4"/>
                </a:solidFill>
              </a:rPr>
              <a:t>6%  </a:t>
            </a:r>
            <a:r>
              <a:rPr lang="en-US" sz="1200" dirty="0"/>
              <a:t>depending on :</a:t>
            </a:r>
          </a:p>
          <a:p>
            <a:pPr marL="171450" indent="-171450">
              <a:spcBef>
                <a:spcPts val="300"/>
              </a:spcBef>
              <a:buClr>
                <a:schemeClr val="folHlink"/>
              </a:buClr>
              <a:buFont typeface="Wingdings" panose="05000000000000000000" pitchFamily="2" charset="2"/>
              <a:buChar char="ü"/>
              <a:defRPr/>
            </a:pPr>
            <a:r>
              <a:rPr lang="en-US" dirty="0"/>
              <a:t>    Equipment size / UPM type </a:t>
            </a:r>
          </a:p>
          <a:p>
            <a:pPr marL="369225" lvl="4" indent="-171450">
              <a:spcBef>
                <a:spcPts val="300"/>
              </a:spcBef>
              <a:buClr>
                <a:schemeClr val="folHlink"/>
              </a:buClr>
              <a:defRPr/>
            </a:pPr>
            <a:r>
              <a:rPr lang="en-US" dirty="0"/>
              <a:t>XS : up to 2700 </a:t>
            </a:r>
            <a:r>
              <a:rPr lang="en-US" dirty="0" err="1"/>
              <a:t>bhm</a:t>
            </a:r>
            <a:endParaRPr lang="en-US" dirty="0"/>
          </a:p>
          <a:p>
            <a:pPr marL="369225" lvl="4" indent="-171450">
              <a:spcBef>
                <a:spcPts val="300"/>
              </a:spcBef>
              <a:buClr>
                <a:schemeClr val="folHlink"/>
              </a:buClr>
              <a:defRPr/>
            </a:pPr>
            <a:r>
              <a:rPr lang="en-US" dirty="0"/>
              <a:t>  M : up to 2600 </a:t>
            </a:r>
            <a:r>
              <a:rPr lang="en-US" dirty="0" err="1"/>
              <a:t>bhm</a:t>
            </a:r>
            <a:endParaRPr lang="en-US" dirty="0"/>
          </a:p>
          <a:p>
            <a:pPr marL="369225" lvl="4" indent="-171450">
              <a:spcBef>
                <a:spcPts val="300"/>
              </a:spcBef>
              <a:buClr>
                <a:schemeClr val="folHlink"/>
              </a:buClr>
              <a:defRPr/>
            </a:pPr>
            <a:r>
              <a:rPr lang="en-US" dirty="0"/>
              <a:t>   L : up to 2500 </a:t>
            </a:r>
            <a:r>
              <a:rPr lang="en-US" dirty="0" err="1"/>
              <a:t>bhm</a:t>
            </a:r>
            <a:endParaRPr lang="en-US" dirty="0"/>
          </a:p>
          <a:p>
            <a:pPr marL="171450" indent="-171450">
              <a:spcBef>
                <a:spcPts val="300"/>
              </a:spcBef>
              <a:buClr>
                <a:schemeClr val="folHlink"/>
              </a:buClr>
              <a:buFont typeface="Wingdings" panose="05000000000000000000" pitchFamily="2" charset="2"/>
              <a:buChar char="ü"/>
              <a:defRPr/>
            </a:pPr>
            <a:endParaRPr lang="en-US" dirty="0"/>
          </a:p>
          <a:p>
            <a:pPr marL="171450" indent="-171450">
              <a:spcBef>
                <a:spcPts val="300"/>
              </a:spcBef>
              <a:buClr>
                <a:schemeClr val="folHlink"/>
              </a:buClr>
              <a:buFont typeface="Wingdings" panose="05000000000000000000" pitchFamily="2" charset="2"/>
              <a:buChar char="ü"/>
              <a:defRPr/>
            </a:pPr>
            <a:r>
              <a:rPr lang="en-US" dirty="0"/>
              <a:t>Bottle size</a:t>
            </a:r>
          </a:p>
          <a:p>
            <a:pPr marL="171450" indent="-171450">
              <a:spcBef>
                <a:spcPts val="300"/>
              </a:spcBef>
              <a:buClr>
                <a:schemeClr val="folHlink"/>
              </a:buClr>
              <a:buFont typeface="Wingdings" panose="05000000000000000000" pitchFamily="2" charset="2"/>
              <a:buChar char="ü"/>
              <a:defRPr/>
            </a:pPr>
            <a:r>
              <a:rPr lang="en-US" dirty="0"/>
              <a:t>Product application (water / CSD)</a:t>
            </a:r>
          </a:p>
          <a:p>
            <a:pPr marL="0" indent="0">
              <a:buNone/>
            </a:pPr>
            <a:endParaRPr lang="en-US" b="1" dirty="0">
              <a:solidFill>
                <a:srgbClr val="E64B00"/>
              </a:solidFill>
              <a:latin typeface="Arial"/>
              <a:ea typeface="Calibri" panose="020F0502020204030204"/>
              <a:cs typeface="Arial"/>
            </a:endParaRP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sz="1200" dirty="0">
              <a:ea typeface="Calibri"/>
              <a:cs typeface="Calibri"/>
            </a:endParaRPr>
          </a:p>
          <a:p>
            <a:endParaRPr lang="en-GB" dirty="0"/>
          </a:p>
        </p:txBody>
      </p:sp>
      <p:grpSp>
        <p:nvGrpSpPr>
          <p:cNvPr id="46" name="Gruppo 63">
            <a:extLst>
              <a:ext uri="{FF2B5EF4-FFF2-40B4-BE49-F238E27FC236}">
                <a16:creationId xmlns:a16="http://schemas.microsoft.com/office/drawing/2014/main" id="{B782813F-3496-38D5-905D-BF224DB6F91E}"/>
              </a:ext>
            </a:extLst>
          </p:cNvPr>
          <p:cNvGrpSpPr/>
          <p:nvPr/>
        </p:nvGrpSpPr>
        <p:grpSpPr>
          <a:xfrm>
            <a:off x="2624439" y="1519477"/>
            <a:ext cx="3240815" cy="302540"/>
            <a:chOff x="2632197" y="1288016"/>
            <a:chExt cx="3240815" cy="302540"/>
          </a:xfrm>
          <a:solidFill>
            <a:srgbClr val="575E62"/>
          </a:solidFill>
        </p:grpSpPr>
        <p:sp>
          <p:nvSpPr>
            <p:cNvPr id="47" name="Rettangolo 65">
              <a:extLst>
                <a:ext uri="{FF2B5EF4-FFF2-40B4-BE49-F238E27FC236}">
                  <a16:creationId xmlns:a16="http://schemas.microsoft.com/office/drawing/2014/main" id="{12810C6C-0112-8A49-891F-CF41C6042719}"/>
                </a:ext>
              </a:extLst>
            </p:cNvPr>
            <p:cNvSpPr/>
            <p:nvPr userDrawn="1"/>
          </p:nvSpPr>
          <p:spPr>
            <a:xfrm>
              <a:off x="2632197" y="1288016"/>
              <a:ext cx="3240815" cy="30254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2000" dirty="0" err="1"/>
            </a:p>
          </p:txBody>
        </p:sp>
        <p:sp>
          <p:nvSpPr>
            <p:cNvPr id="48" name="CasellaDiTesto 66">
              <a:extLst>
                <a:ext uri="{FF2B5EF4-FFF2-40B4-BE49-F238E27FC236}">
                  <a16:creationId xmlns:a16="http://schemas.microsoft.com/office/drawing/2014/main" id="{3EE1F40A-E823-952A-9BA1-159DD931E625}"/>
                </a:ext>
              </a:extLst>
            </p:cNvPr>
            <p:cNvSpPr txBox="1"/>
            <p:nvPr userDrawn="1"/>
          </p:nvSpPr>
          <p:spPr>
            <a:xfrm>
              <a:off x="2632198" y="1328243"/>
              <a:ext cx="1949930" cy="230832"/>
            </a:xfrm>
            <a:prstGeom prst="rect">
              <a:avLst/>
            </a:prstGeom>
            <a:grpFill/>
          </p:spPr>
          <p:txBody>
            <a:bodyPr wrap="square" lIns="144000" tIns="0" rIns="0" bIns="0" rtlCol="0">
              <a:noAutofit/>
            </a:bodyPr>
            <a:lstStyle/>
            <a:p>
              <a:pPr algn="l"/>
              <a:r>
                <a:rPr lang="it-IT" sz="1600" b="1" dirty="0">
                  <a:solidFill>
                    <a:schemeClr val="bg1"/>
                  </a:solidFill>
                </a:rPr>
                <a:t>BENEFITS</a:t>
              </a:r>
            </a:p>
          </p:txBody>
        </p:sp>
      </p:grpSp>
      <p:grpSp>
        <p:nvGrpSpPr>
          <p:cNvPr id="49" name="Gruppo 41">
            <a:extLst>
              <a:ext uri="{FF2B5EF4-FFF2-40B4-BE49-F238E27FC236}">
                <a16:creationId xmlns:a16="http://schemas.microsoft.com/office/drawing/2014/main" id="{490ED495-63AE-8B1F-4398-41F98B2EF32B}"/>
              </a:ext>
            </a:extLst>
          </p:cNvPr>
          <p:cNvGrpSpPr/>
          <p:nvPr/>
        </p:nvGrpSpPr>
        <p:grpSpPr>
          <a:xfrm>
            <a:off x="0" y="0"/>
            <a:ext cx="2352565" cy="6858000"/>
            <a:chOff x="-3505" y="0"/>
            <a:chExt cx="2352565" cy="5921128"/>
          </a:xfrm>
        </p:grpSpPr>
        <p:pic>
          <p:nvPicPr>
            <p:cNvPr id="50" name="Immagine 50">
              <a:extLst>
                <a:ext uri="{FF2B5EF4-FFF2-40B4-BE49-F238E27FC236}">
                  <a16:creationId xmlns:a16="http://schemas.microsoft.com/office/drawing/2014/main" id="{6BC40772-D13F-E0CB-2F0E-92406446450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6336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440" y="0"/>
              <a:ext cx="2349500" cy="5921128"/>
            </a:xfrm>
            <a:prstGeom prst="rect">
              <a:avLst/>
            </a:prstGeom>
          </p:spPr>
        </p:pic>
        <p:pic>
          <p:nvPicPr>
            <p:cNvPr id="51" name="Immagine 51">
              <a:extLst>
                <a:ext uri="{FF2B5EF4-FFF2-40B4-BE49-F238E27FC236}">
                  <a16:creationId xmlns:a16="http://schemas.microsoft.com/office/drawing/2014/main" id="{70893A48-FCC4-F809-B411-354DA85970C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3505" y="1"/>
              <a:ext cx="2349500" cy="4041615"/>
            </a:xfrm>
            <a:prstGeom prst="rect">
              <a:avLst/>
            </a:prstGeom>
          </p:spPr>
        </p:pic>
      </p:grpSp>
      <p:sp>
        <p:nvSpPr>
          <p:cNvPr id="52" name="Segnaposto testo 38">
            <a:extLst>
              <a:ext uri="{FF2B5EF4-FFF2-40B4-BE49-F238E27FC236}">
                <a16:creationId xmlns:a16="http://schemas.microsoft.com/office/drawing/2014/main" id="{2D983DB6-86B6-2BF3-FCC8-46E7B8EBA5A3}"/>
              </a:ext>
            </a:extLst>
          </p:cNvPr>
          <p:cNvSpPr txBox="1">
            <a:spLocks/>
          </p:cNvSpPr>
          <p:nvPr/>
        </p:nvSpPr>
        <p:spPr>
          <a:xfrm>
            <a:off x="6023183" y="1806080"/>
            <a:ext cx="3543563" cy="3035110"/>
          </a:xfrm>
          <a:prstGeom prst="rect">
            <a:avLst/>
          </a:prstGeom>
          <a:gradFill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lIns="180000" tIns="144000" rIns="180000" bIns="144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n-US" altLang="fr-FR" b="1" dirty="0">
                <a:solidFill>
                  <a:srgbClr val="000000"/>
                </a:solidFill>
              </a:rPr>
              <a:t>Blow wheel  major evolution </a:t>
            </a:r>
          </a:p>
          <a:p>
            <a:pPr marL="268288" lvl="1" indent="-107950">
              <a:buFont typeface="Arial" panose="020B0604020202020204" pitchFamily="34" charset="0"/>
              <a:buChar char="•"/>
            </a:pPr>
            <a:r>
              <a:rPr lang="en-US" altLang="fr-FR" dirty="0">
                <a:solidFill>
                  <a:srgbClr val="000000"/>
                </a:solidFill>
              </a:rPr>
              <a:t>set of UPM &amp; consoles</a:t>
            </a:r>
          </a:p>
          <a:p>
            <a:pPr marL="268288" lvl="1" indent="-107950">
              <a:buFont typeface="Arial" panose="020B0604020202020204" pitchFamily="34" charset="0"/>
              <a:buChar char="•"/>
            </a:pPr>
            <a:r>
              <a:rPr lang="en-US" altLang="fr-FR" dirty="0">
                <a:solidFill>
                  <a:srgbClr val="000000"/>
                </a:solidFill>
              </a:rPr>
              <a:t>cams &amp; support : O/C , Base mold , L/UL</a:t>
            </a:r>
          </a:p>
          <a:p>
            <a:pPr marL="268288" lvl="1" indent="-107950">
              <a:buFont typeface="Arial" panose="020B0604020202020204" pitchFamily="34" charset="0"/>
              <a:buChar char="•"/>
            </a:pPr>
            <a:r>
              <a:rPr lang="en-US" altLang="fr-FR" dirty="0">
                <a:solidFill>
                  <a:srgbClr val="000000"/>
                </a:solidFill>
              </a:rPr>
              <a:t>motorization, drive pinion &amp; belts</a:t>
            </a:r>
          </a:p>
          <a:p>
            <a:pPr marL="268288" lvl="1" indent="-107950">
              <a:buFont typeface="Arial" panose="020B0604020202020204" pitchFamily="34" charset="0"/>
              <a:buChar char="•"/>
            </a:pPr>
            <a:r>
              <a:rPr lang="en-US" altLang="fr-FR" dirty="0">
                <a:solidFill>
                  <a:srgbClr val="000000"/>
                </a:solidFill>
              </a:rPr>
              <a:t>brake drive, centralized greasing</a:t>
            </a:r>
          </a:p>
          <a:p>
            <a:pPr marL="268288" lvl="1" indent="-107950">
              <a:buFont typeface="Arial" panose="020B0604020202020204" pitchFamily="34" charset="0"/>
              <a:buChar char="•"/>
            </a:pPr>
            <a:r>
              <a:rPr lang="en-US" altLang="fr-FR" dirty="0">
                <a:solidFill>
                  <a:srgbClr val="000000"/>
                </a:solidFill>
              </a:rPr>
              <a:t>specific tooling for intervention</a:t>
            </a:r>
          </a:p>
          <a:p>
            <a:pPr marL="268288" lvl="1" indent="-107950">
              <a:buFont typeface="Arial" panose="020B0604020202020204" pitchFamily="34" charset="0"/>
              <a:buChar char="•"/>
            </a:pPr>
            <a:r>
              <a:rPr lang="en-US" altLang="fr-FR" dirty="0">
                <a:solidFill>
                  <a:srgbClr val="000000"/>
                </a:solidFill>
              </a:rPr>
              <a:t>transfer table oxy-cutting</a:t>
            </a:r>
          </a:p>
          <a:p>
            <a:pPr marL="268288" lvl="1" indent="-107950">
              <a:buFont typeface="Arial" panose="020B0604020202020204" pitchFamily="34" charset="0"/>
              <a:buChar char="•"/>
            </a:pPr>
            <a:r>
              <a:rPr lang="en-US" altLang="fr-FR" dirty="0">
                <a:solidFill>
                  <a:srgbClr val="000000"/>
                </a:solidFill>
              </a:rPr>
              <a:t>Frame / OC cam re-</a:t>
            </a:r>
            <a:r>
              <a:rPr lang="en-US" altLang="fr-FR" dirty="0" err="1">
                <a:solidFill>
                  <a:srgbClr val="000000"/>
                </a:solidFill>
              </a:rPr>
              <a:t>inforced</a:t>
            </a:r>
            <a:endParaRPr lang="en-US" altLang="fr-FR" dirty="0">
              <a:solidFill>
                <a:srgbClr val="000000"/>
              </a:solidFill>
            </a:endParaRPr>
          </a:p>
          <a:p>
            <a:pPr marL="268288" lvl="1" indent="-107950">
              <a:buFont typeface="Arial" panose="020B0604020202020204" pitchFamily="34" charset="0"/>
              <a:buChar char="•"/>
            </a:pPr>
            <a:r>
              <a:rPr lang="en-US" altLang="fr-FR" dirty="0">
                <a:solidFill>
                  <a:srgbClr val="000000"/>
                </a:solidFill>
              </a:rPr>
              <a:t>Software upgrade</a:t>
            </a:r>
          </a:p>
          <a:p>
            <a:pPr marL="268288" lvl="1" indent="-107950">
              <a:buFont typeface="Arial" panose="020B0604020202020204" pitchFamily="34" charset="0"/>
              <a:buChar char="•"/>
            </a:pPr>
            <a:endParaRPr lang="en-US" altLang="fr-FR" dirty="0">
              <a:solidFill>
                <a:srgbClr val="000000"/>
              </a:solidFill>
            </a:endParaRPr>
          </a:p>
          <a:p>
            <a:pPr>
              <a:spcBef>
                <a:spcPts val="300"/>
              </a:spcBef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n-US" altLang="fr-FR" dirty="0">
                <a:solidFill>
                  <a:srgbClr val="000000"/>
                </a:solidFill>
              </a:rPr>
              <a:t>Preform feeder &amp; Oven capacity</a:t>
            </a:r>
            <a:br>
              <a:rPr lang="en-US" altLang="fr-FR" dirty="0">
                <a:solidFill>
                  <a:srgbClr val="000000"/>
                </a:solidFill>
              </a:rPr>
            </a:br>
            <a:r>
              <a:rPr lang="en-US" altLang="fr-FR" dirty="0">
                <a:solidFill>
                  <a:srgbClr val="000000"/>
                </a:solidFill>
              </a:rPr>
              <a:t>Packaging Process evaluation is mandatory</a:t>
            </a:r>
          </a:p>
          <a:p>
            <a:pPr>
              <a:spcBef>
                <a:spcPts val="300"/>
              </a:spcBef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n-US" altLang="fr-FR" dirty="0">
                <a:solidFill>
                  <a:srgbClr val="000000"/>
                </a:solidFill>
              </a:rPr>
              <a:t>Diagnostic Visit mandatory</a:t>
            </a:r>
          </a:p>
          <a:p>
            <a:pPr>
              <a:spcBef>
                <a:spcPts val="300"/>
              </a:spcBef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fr-FR" altLang="fr-FR" dirty="0">
                <a:solidFill>
                  <a:srgbClr val="000000"/>
                </a:solidFill>
              </a:rPr>
              <a:t>Obsolescence screening </a:t>
            </a:r>
            <a:r>
              <a:rPr lang="fr-FR" altLang="fr-FR" dirty="0" err="1">
                <a:solidFill>
                  <a:srgbClr val="000000"/>
                </a:solidFill>
              </a:rPr>
              <a:t>recommended</a:t>
            </a:r>
            <a:endParaRPr lang="en-US" altLang="fr-FR" dirty="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dirty="0">
              <a:latin typeface="Arial"/>
              <a:cs typeface="Arial"/>
            </a:endParaRPr>
          </a:p>
          <a:p>
            <a:pPr marL="0" indent="0">
              <a:buNone/>
            </a:pPr>
            <a:endParaRPr lang="en-US" dirty="0">
              <a:solidFill>
                <a:srgbClr val="000000"/>
              </a:solidFill>
              <a:latin typeface="Arial"/>
              <a:ea typeface="Calibri"/>
              <a:cs typeface="Arial"/>
            </a:endParaRPr>
          </a:p>
          <a:p>
            <a:pPr marL="0" indent="0">
              <a:buNone/>
            </a:pPr>
            <a:endParaRPr lang="en-US" dirty="0">
              <a:latin typeface="Arial"/>
              <a:ea typeface="Calibri"/>
              <a:cs typeface="Arial"/>
            </a:endParaRPr>
          </a:p>
          <a:p>
            <a:pPr marL="0" indent="0">
              <a:buNone/>
            </a:pPr>
            <a:endParaRPr lang="en-US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0" indent="0">
              <a:buNone/>
            </a:pPr>
            <a:endParaRPr lang="fr-FR" dirty="0">
              <a:ea typeface="Calibri" panose="020F0502020204030204"/>
              <a:cs typeface="Calibri" panose="020F0502020204030204"/>
            </a:endParaRPr>
          </a:p>
        </p:txBody>
      </p:sp>
      <p:grpSp>
        <p:nvGrpSpPr>
          <p:cNvPr id="53" name="Gruppo 55">
            <a:extLst>
              <a:ext uri="{FF2B5EF4-FFF2-40B4-BE49-F238E27FC236}">
                <a16:creationId xmlns:a16="http://schemas.microsoft.com/office/drawing/2014/main" id="{AC61FE2B-F443-A0EE-09FE-18283CF93C4A}"/>
              </a:ext>
            </a:extLst>
          </p:cNvPr>
          <p:cNvGrpSpPr/>
          <p:nvPr/>
        </p:nvGrpSpPr>
        <p:grpSpPr>
          <a:xfrm>
            <a:off x="6030359" y="1511571"/>
            <a:ext cx="3543564" cy="302540"/>
            <a:chOff x="2632197" y="1288016"/>
            <a:chExt cx="3240815" cy="302540"/>
          </a:xfrm>
          <a:solidFill>
            <a:srgbClr val="575E62"/>
          </a:solidFill>
        </p:grpSpPr>
        <p:sp>
          <p:nvSpPr>
            <p:cNvPr id="54" name="Rettangolo 56">
              <a:extLst>
                <a:ext uri="{FF2B5EF4-FFF2-40B4-BE49-F238E27FC236}">
                  <a16:creationId xmlns:a16="http://schemas.microsoft.com/office/drawing/2014/main" id="{D88D3AC9-2E60-C411-DBE1-E42194A6EE2F}"/>
                </a:ext>
              </a:extLst>
            </p:cNvPr>
            <p:cNvSpPr/>
            <p:nvPr userDrawn="1"/>
          </p:nvSpPr>
          <p:spPr>
            <a:xfrm>
              <a:off x="2632197" y="1288016"/>
              <a:ext cx="3240815" cy="30254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2000" dirty="0" err="1"/>
            </a:p>
          </p:txBody>
        </p:sp>
        <p:sp>
          <p:nvSpPr>
            <p:cNvPr id="55" name="CasellaDiTesto 57">
              <a:extLst>
                <a:ext uri="{FF2B5EF4-FFF2-40B4-BE49-F238E27FC236}">
                  <a16:creationId xmlns:a16="http://schemas.microsoft.com/office/drawing/2014/main" id="{E5DD7732-363C-F4DA-A84D-B3E8AF3EFD06}"/>
                </a:ext>
              </a:extLst>
            </p:cNvPr>
            <p:cNvSpPr txBox="1"/>
            <p:nvPr userDrawn="1"/>
          </p:nvSpPr>
          <p:spPr>
            <a:xfrm>
              <a:off x="2632198" y="1328243"/>
              <a:ext cx="1949930" cy="230832"/>
            </a:xfrm>
            <a:prstGeom prst="rect">
              <a:avLst/>
            </a:prstGeom>
            <a:grpFill/>
          </p:spPr>
          <p:txBody>
            <a:bodyPr wrap="square" lIns="144000" tIns="0" rIns="0" bIns="0" rtlCol="0" anchor="t">
              <a:noAutofit/>
            </a:bodyPr>
            <a:lstStyle/>
            <a:p>
              <a:pPr algn="l"/>
              <a:r>
                <a:rPr lang="it-IT" sz="1600" b="1" dirty="0">
                  <a:solidFill>
                    <a:schemeClr val="bg1"/>
                  </a:solidFill>
                </a:rPr>
                <a:t>DESCRIPTION</a:t>
              </a:r>
            </a:p>
          </p:txBody>
        </p:sp>
      </p:grpSp>
      <p:sp>
        <p:nvSpPr>
          <p:cNvPr id="62" name="Textplatzhalter 3">
            <a:extLst>
              <a:ext uri="{FF2B5EF4-FFF2-40B4-BE49-F238E27FC236}">
                <a16:creationId xmlns:a16="http://schemas.microsoft.com/office/drawing/2014/main" id="{C8150B97-541C-BC17-A789-56F8312ED4DB}"/>
              </a:ext>
            </a:extLst>
          </p:cNvPr>
          <p:cNvSpPr txBox="1">
            <a:spLocks/>
          </p:cNvSpPr>
          <p:nvPr/>
        </p:nvSpPr>
        <p:spPr>
          <a:xfrm>
            <a:off x="2624439" y="864161"/>
            <a:ext cx="9245507" cy="5765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23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Matrix - Speed Up kit  O&amp;U ref #2045</a:t>
            </a:r>
          </a:p>
          <a:p>
            <a:r>
              <a:rPr lang="en-GB" sz="1800" i="1" dirty="0"/>
              <a:t>Mx MM 110003 </a:t>
            </a:r>
            <a:r>
              <a:rPr lang="en-GB" sz="1800" i="1" dirty="0">
                <a:sym typeface="Wingdings" panose="05000000000000000000" pitchFamily="2" charset="2"/>
              </a:rPr>
              <a:t> 110042</a:t>
            </a:r>
            <a:endParaRPr lang="en-GB" sz="1800" i="1" dirty="0"/>
          </a:p>
        </p:txBody>
      </p:sp>
      <p:sp>
        <p:nvSpPr>
          <p:cNvPr id="63" name="Segnaposto testo 13">
            <a:extLst>
              <a:ext uri="{FF2B5EF4-FFF2-40B4-BE49-F238E27FC236}">
                <a16:creationId xmlns:a16="http://schemas.microsoft.com/office/drawing/2014/main" id="{A80B108C-F084-D870-FFE1-699A4D7E5A9C}"/>
              </a:ext>
            </a:extLst>
          </p:cNvPr>
          <p:cNvSpPr txBox="1">
            <a:spLocks/>
          </p:cNvSpPr>
          <p:nvPr/>
        </p:nvSpPr>
        <p:spPr>
          <a:xfrm>
            <a:off x="210382" y="1510276"/>
            <a:ext cx="1963125" cy="371227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150 k€ - 290 k€</a:t>
            </a:r>
          </a:p>
        </p:txBody>
      </p:sp>
      <p:sp>
        <p:nvSpPr>
          <p:cNvPr id="64" name="TextBox 9">
            <a:extLst>
              <a:ext uri="{FF2B5EF4-FFF2-40B4-BE49-F238E27FC236}">
                <a16:creationId xmlns:a16="http://schemas.microsoft.com/office/drawing/2014/main" id="{DBADC5FC-5F63-742C-4471-FC03D2601782}"/>
              </a:ext>
            </a:extLst>
          </p:cNvPr>
          <p:cNvSpPr txBox="1"/>
          <p:nvPr/>
        </p:nvSpPr>
        <p:spPr>
          <a:xfrm>
            <a:off x="199050" y="1282706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Budget price: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5" name="Segnaposto testo 13">
            <a:extLst>
              <a:ext uri="{FF2B5EF4-FFF2-40B4-BE49-F238E27FC236}">
                <a16:creationId xmlns:a16="http://schemas.microsoft.com/office/drawing/2014/main" id="{6F5CBB1E-7EAD-1268-BE31-C74056578596}"/>
              </a:ext>
            </a:extLst>
          </p:cNvPr>
          <p:cNvSpPr txBox="1">
            <a:spLocks/>
          </p:cNvSpPr>
          <p:nvPr/>
        </p:nvSpPr>
        <p:spPr>
          <a:xfrm>
            <a:off x="199050" y="2091866"/>
            <a:ext cx="1963125" cy="380095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&lt; 3 years</a:t>
            </a:r>
          </a:p>
        </p:txBody>
      </p:sp>
      <p:sp>
        <p:nvSpPr>
          <p:cNvPr id="66" name="TextBox 9">
            <a:extLst>
              <a:ext uri="{FF2B5EF4-FFF2-40B4-BE49-F238E27FC236}">
                <a16:creationId xmlns:a16="http://schemas.microsoft.com/office/drawing/2014/main" id="{E3D8C216-047A-0E7E-482B-070507816A1B}"/>
              </a:ext>
            </a:extLst>
          </p:cNvPr>
          <p:cNvSpPr txBox="1"/>
          <p:nvPr/>
        </p:nvSpPr>
        <p:spPr>
          <a:xfrm>
            <a:off x="199050" y="1845524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Payback estimation: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7" name="Segnaposto testo 13">
            <a:extLst>
              <a:ext uri="{FF2B5EF4-FFF2-40B4-BE49-F238E27FC236}">
                <a16:creationId xmlns:a16="http://schemas.microsoft.com/office/drawing/2014/main" id="{1707BAA9-DCA5-5E2B-3C1B-986695A9A3BD}"/>
              </a:ext>
            </a:extLst>
          </p:cNvPr>
          <p:cNvSpPr txBox="1">
            <a:spLocks/>
          </p:cNvSpPr>
          <p:nvPr/>
        </p:nvSpPr>
        <p:spPr>
          <a:xfrm>
            <a:off x="207910" y="2637265"/>
            <a:ext cx="1963125" cy="360123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27 – 37 m*d</a:t>
            </a:r>
          </a:p>
        </p:txBody>
      </p:sp>
      <p:sp>
        <p:nvSpPr>
          <p:cNvPr id="68" name="TextBox 9">
            <a:extLst>
              <a:ext uri="{FF2B5EF4-FFF2-40B4-BE49-F238E27FC236}">
                <a16:creationId xmlns:a16="http://schemas.microsoft.com/office/drawing/2014/main" id="{7DE98027-5F83-A5FC-4337-E3E1E304AA6F}"/>
              </a:ext>
            </a:extLst>
          </p:cNvPr>
          <p:cNvSpPr txBox="1"/>
          <p:nvPr/>
        </p:nvSpPr>
        <p:spPr>
          <a:xfrm>
            <a:off x="207910" y="2390923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Installation time: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9" name="Segnaposto testo 13">
            <a:extLst>
              <a:ext uri="{FF2B5EF4-FFF2-40B4-BE49-F238E27FC236}">
                <a16:creationId xmlns:a16="http://schemas.microsoft.com/office/drawing/2014/main" id="{25DACCD5-7A73-7525-1A8B-7E787DA1F44B}"/>
              </a:ext>
            </a:extLst>
          </p:cNvPr>
          <p:cNvSpPr txBox="1">
            <a:spLocks/>
          </p:cNvSpPr>
          <p:nvPr/>
        </p:nvSpPr>
        <p:spPr>
          <a:xfrm>
            <a:off x="199050" y="3191934"/>
            <a:ext cx="1963125" cy="393248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12 – 15 working days</a:t>
            </a:r>
          </a:p>
        </p:txBody>
      </p:sp>
      <p:sp>
        <p:nvSpPr>
          <p:cNvPr id="70" name="TextBox 9">
            <a:extLst>
              <a:ext uri="{FF2B5EF4-FFF2-40B4-BE49-F238E27FC236}">
                <a16:creationId xmlns:a16="http://schemas.microsoft.com/office/drawing/2014/main" id="{93B8876F-D75E-DDD0-807A-A249C3FADAED}"/>
              </a:ext>
            </a:extLst>
          </p:cNvPr>
          <p:cNvSpPr txBox="1"/>
          <p:nvPr/>
        </p:nvSpPr>
        <p:spPr>
          <a:xfrm>
            <a:off x="199050" y="2945592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Machine downtime: </a:t>
            </a:r>
          </a:p>
        </p:txBody>
      </p:sp>
      <p:sp>
        <p:nvSpPr>
          <p:cNvPr id="71" name="Segnaposto testo 13">
            <a:extLst>
              <a:ext uri="{FF2B5EF4-FFF2-40B4-BE49-F238E27FC236}">
                <a16:creationId xmlns:a16="http://schemas.microsoft.com/office/drawing/2014/main" id="{82B5FA08-1DB6-77C3-5E88-F6CC8673B3A0}"/>
              </a:ext>
            </a:extLst>
          </p:cNvPr>
          <p:cNvSpPr txBox="1">
            <a:spLocks/>
          </p:cNvSpPr>
          <p:nvPr/>
        </p:nvSpPr>
        <p:spPr>
          <a:xfrm>
            <a:off x="208576" y="4174544"/>
            <a:ext cx="1963124" cy="449332"/>
          </a:xfrm>
          <a:prstGeom prst="rect">
            <a:avLst/>
          </a:prstGeom>
        </p:spPr>
        <p:txBody>
          <a:bodyPr wrap="square" lIns="91440" tIns="45720" rIns="91440" bIns="45720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*</a:t>
            </a:r>
            <a:r>
              <a:rPr lang="it-IT" dirty="0" err="1">
                <a:solidFill>
                  <a:srgbClr val="FFFFFF"/>
                </a:solidFill>
              </a:rPr>
              <a:t>These</a:t>
            </a:r>
            <a:r>
              <a:rPr lang="it-IT" dirty="0">
                <a:solidFill>
                  <a:srgbClr val="FFFFFF"/>
                </a:solidFill>
              </a:rPr>
              <a:t> data are </a:t>
            </a:r>
            <a:r>
              <a:rPr lang="it-IT" dirty="0" err="1">
                <a:solidFill>
                  <a:srgbClr val="FFFFFF"/>
                </a:solidFill>
              </a:rPr>
              <a:t>approximate</a:t>
            </a:r>
            <a:r>
              <a:rPr lang="it-IT" dirty="0">
                <a:solidFill>
                  <a:srgbClr val="FFFFFF"/>
                </a:solidFill>
              </a:rPr>
              <a:t> and </a:t>
            </a:r>
            <a:r>
              <a:rPr lang="it-IT" dirty="0" err="1">
                <a:solidFill>
                  <a:srgbClr val="FFFFFF"/>
                </a:solidFill>
              </a:rPr>
              <a:t>not</a:t>
            </a:r>
            <a:r>
              <a:rPr lang="it-IT" dirty="0">
                <a:solidFill>
                  <a:srgbClr val="FFFFFF"/>
                </a:solidFill>
              </a:rPr>
              <a:t> definitive, </a:t>
            </a:r>
            <a:r>
              <a:rPr lang="it-IT" dirty="0" err="1">
                <a:solidFill>
                  <a:srgbClr val="FFFFFF"/>
                </a:solidFill>
              </a:rPr>
              <a:t>depending</a:t>
            </a:r>
            <a:r>
              <a:rPr lang="it-IT" dirty="0">
                <a:solidFill>
                  <a:srgbClr val="FFFFFF"/>
                </a:solidFill>
              </a:rPr>
              <a:t> on </a:t>
            </a:r>
            <a:r>
              <a:rPr lang="it-IT" dirty="0" err="1">
                <a:solidFill>
                  <a:srgbClr val="FFFFFF"/>
                </a:solidFill>
              </a:rPr>
              <a:t>your</a:t>
            </a:r>
            <a:r>
              <a:rPr lang="it-IT" dirty="0">
                <a:solidFill>
                  <a:srgbClr val="FFFFFF"/>
                </a:solidFill>
              </a:rPr>
              <a:t> machine </a:t>
            </a:r>
            <a:r>
              <a:rPr lang="it-IT" dirty="0" err="1">
                <a:solidFill>
                  <a:srgbClr val="FFFFFF"/>
                </a:solidFill>
              </a:rPr>
              <a:t>configuration</a:t>
            </a:r>
            <a:r>
              <a:rPr lang="it-IT" dirty="0">
                <a:solidFill>
                  <a:srgbClr val="FFFFFF"/>
                </a:solidFill>
              </a:rPr>
              <a:t>.</a:t>
            </a:r>
            <a:endParaRPr lang="fr-FR" dirty="0">
              <a:ea typeface="Calibri"/>
              <a:cs typeface="Calibri"/>
            </a:endParaRPr>
          </a:p>
        </p:txBody>
      </p:sp>
      <p:sp>
        <p:nvSpPr>
          <p:cNvPr id="73" name="Segnaposto testo 13">
            <a:extLst>
              <a:ext uri="{FF2B5EF4-FFF2-40B4-BE49-F238E27FC236}">
                <a16:creationId xmlns:a16="http://schemas.microsoft.com/office/drawing/2014/main" id="{12EB70C3-9807-83CD-C6D7-8DA816CD10C5}"/>
              </a:ext>
            </a:extLst>
          </p:cNvPr>
          <p:cNvSpPr txBox="1">
            <a:spLocks/>
          </p:cNvSpPr>
          <p:nvPr/>
        </p:nvSpPr>
        <p:spPr>
          <a:xfrm>
            <a:off x="187081" y="5036323"/>
            <a:ext cx="1963125" cy="443010"/>
          </a:xfrm>
          <a:prstGeom prst="rect">
            <a:avLst/>
          </a:prstGeom>
        </p:spPr>
        <p:txBody>
          <a:bodyPr wrap="square" lIns="91440" tIns="45720" rIns="91440" bIns="45720" anchor="t"/>
          <a:lstStyle>
            <a:lvl1pPr marL="99450" marR="0" indent="-99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Char char="§"/>
              <a:tabLst/>
              <a:defRPr sz="1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9060" indent="-99060">
              <a:buClr>
                <a:srgbClr val="E74B00"/>
              </a:buClr>
            </a:pPr>
            <a:r>
              <a:rPr lang="it-IT" sz="1200" b="1" dirty="0">
                <a:latin typeface="Calibri"/>
                <a:ea typeface="Calibri"/>
                <a:cs typeface="Calibri"/>
              </a:rPr>
              <a:t>Matrix MM - GM </a:t>
            </a:r>
            <a:br>
              <a:rPr lang="it-IT" sz="1200" dirty="0">
                <a:latin typeface="Calibri"/>
              </a:rPr>
            </a:br>
            <a:r>
              <a:rPr lang="it-IT" sz="900" b="1">
                <a:solidFill>
                  <a:srgbClr val="E74B00"/>
                </a:solidFill>
                <a:latin typeface="Calibri"/>
                <a:ea typeface="Calibri"/>
                <a:cs typeface="Calibri"/>
              </a:rPr>
              <a:t>NEW </a:t>
            </a:r>
            <a:r>
              <a:rPr lang="it-IT" sz="900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MM</a:t>
            </a:r>
            <a:r>
              <a:rPr lang="it-IT" sz="900">
                <a:latin typeface="Calibri"/>
                <a:ea typeface="Calibri"/>
                <a:cs typeface="Calibri"/>
              </a:rPr>
              <a:t> 110003 </a:t>
            </a:r>
            <a:r>
              <a:rPr lang="it-IT" sz="900" dirty="0">
                <a:latin typeface="Calibri"/>
                <a:ea typeface="Calibri"/>
                <a:cs typeface="Calibri"/>
                <a:sym typeface="Wingdings" panose="05000000000000000000" pitchFamily="2" charset="2"/>
              </a:rPr>
              <a:t> 110042</a:t>
            </a:r>
            <a:br>
              <a:rPr lang="it-IT" sz="900" dirty="0">
                <a:latin typeface="Calibri"/>
              </a:rPr>
            </a:br>
            <a:r>
              <a:rPr lang="it-IT" sz="900" dirty="0">
                <a:latin typeface="Calibri"/>
                <a:ea typeface="Calibri"/>
                <a:cs typeface="Calibri"/>
                <a:sym typeface="Wingdings" panose="05000000000000000000" pitchFamily="2" charset="2"/>
              </a:rPr>
              <a:t>        MM 210001  210004</a:t>
            </a:r>
            <a:br>
              <a:rPr lang="it-IT" sz="900" dirty="0">
                <a:latin typeface="Calibri"/>
              </a:rPr>
            </a:br>
            <a:r>
              <a:rPr lang="it-IT" sz="900" dirty="0">
                <a:latin typeface="Calibri"/>
                <a:ea typeface="Calibri"/>
                <a:cs typeface="Calibri"/>
                <a:sym typeface="Wingdings" panose="05000000000000000000" pitchFamily="2" charset="2"/>
              </a:rPr>
              <a:t>PH and HR excluded</a:t>
            </a:r>
            <a:endParaRPr lang="it-IT" sz="900" dirty="0">
              <a:latin typeface="Calibri"/>
              <a:ea typeface="Calibri"/>
              <a:cs typeface="Calibri"/>
            </a:endParaRPr>
          </a:p>
          <a:p>
            <a:pPr marL="99060" indent="-99060">
              <a:buClr>
                <a:srgbClr val="E74B00"/>
              </a:buClr>
            </a:pPr>
            <a:endParaRPr lang="it-IT" sz="1200" dirty="0">
              <a:ea typeface="Calibri"/>
              <a:cs typeface="Calibri"/>
            </a:endParaRPr>
          </a:p>
        </p:txBody>
      </p:sp>
      <p:sp>
        <p:nvSpPr>
          <p:cNvPr id="74" name="TextBox 9">
            <a:extLst>
              <a:ext uri="{FF2B5EF4-FFF2-40B4-BE49-F238E27FC236}">
                <a16:creationId xmlns:a16="http://schemas.microsoft.com/office/drawing/2014/main" id="{E443DD28-22B4-64F2-4A99-C128192B85BB}"/>
              </a:ext>
            </a:extLst>
          </p:cNvPr>
          <p:cNvSpPr txBox="1"/>
          <p:nvPr/>
        </p:nvSpPr>
        <p:spPr>
          <a:xfrm>
            <a:off x="187081" y="4807934"/>
            <a:ext cx="1974457" cy="17084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Machine application: </a:t>
            </a:r>
          </a:p>
        </p:txBody>
      </p:sp>
      <p:sp>
        <p:nvSpPr>
          <p:cNvPr id="83" name="TextBox 9">
            <a:extLst>
              <a:ext uri="{FF2B5EF4-FFF2-40B4-BE49-F238E27FC236}">
                <a16:creationId xmlns:a16="http://schemas.microsoft.com/office/drawing/2014/main" id="{BB6C8BF8-83D3-54C0-D546-7997C19520F1}"/>
              </a:ext>
            </a:extLst>
          </p:cNvPr>
          <p:cNvSpPr txBox="1"/>
          <p:nvPr/>
        </p:nvSpPr>
        <p:spPr>
          <a:xfrm>
            <a:off x="199050" y="934388"/>
            <a:ext cx="1563513" cy="177772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l"/>
            <a:r>
              <a:rPr lang="en-US" sz="1400" b="1" dirty="0">
                <a:solidFill>
                  <a:schemeClr val="bg1"/>
                </a:solidFill>
                <a:cs typeface="Arial"/>
              </a:rPr>
              <a:t>KEY FIGURES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pic>
        <p:nvPicPr>
          <p:cNvPr id="84" name="Elemento grafico 64">
            <a:extLst>
              <a:ext uri="{FF2B5EF4-FFF2-40B4-BE49-F238E27FC236}">
                <a16:creationId xmlns:a16="http://schemas.microsoft.com/office/drawing/2014/main" id="{2FEC2C91-A539-9968-6BD5-85395EF9AD4A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99050" y="346381"/>
            <a:ext cx="1334999" cy="360000"/>
          </a:xfrm>
          <a:prstGeom prst="rect">
            <a:avLst/>
          </a:prstGeom>
        </p:spPr>
      </p:pic>
      <p:sp>
        <p:nvSpPr>
          <p:cNvPr id="85" name="Rettangolo 44">
            <a:extLst>
              <a:ext uri="{FF2B5EF4-FFF2-40B4-BE49-F238E27FC236}">
                <a16:creationId xmlns:a16="http://schemas.microsoft.com/office/drawing/2014/main" id="{3CFECDA4-226B-79C8-A599-9758303A00AB}"/>
              </a:ext>
            </a:extLst>
          </p:cNvPr>
          <p:cNvSpPr/>
          <p:nvPr/>
        </p:nvSpPr>
        <p:spPr>
          <a:xfrm>
            <a:off x="-440" y="4645100"/>
            <a:ext cx="2349500" cy="36000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sp>
        <p:nvSpPr>
          <p:cNvPr id="3" name="Segnaposto testo 13">
            <a:extLst>
              <a:ext uri="{FF2B5EF4-FFF2-40B4-BE49-F238E27FC236}">
                <a16:creationId xmlns:a16="http://schemas.microsoft.com/office/drawing/2014/main" id="{6C26CA26-7E5A-3383-08D7-01050AE80E8D}"/>
              </a:ext>
            </a:extLst>
          </p:cNvPr>
          <p:cNvSpPr txBox="1">
            <a:spLocks/>
          </p:cNvSpPr>
          <p:nvPr/>
        </p:nvSpPr>
        <p:spPr>
          <a:xfrm>
            <a:off x="199050" y="3767863"/>
            <a:ext cx="1963125" cy="393248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22 weeks</a:t>
            </a:r>
          </a:p>
        </p:txBody>
      </p:sp>
      <p:sp>
        <p:nvSpPr>
          <p:cNvPr id="4" name="TextBox 9">
            <a:extLst>
              <a:ext uri="{FF2B5EF4-FFF2-40B4-BE49-F238E27FC236}">
                <a16:creationId xmlns:a16="http://schemas.microsoft.com/office/drawing/2014/main" id="{31B539C9-E0C5-84C4-7C2E-086878B834FE}"/>
              </a:ext>
            </a:extLst>
          </p:cNvPr>
          <p:cNvSpPr txBox="1"/>
          <p:nvPr/>
        </p:nvSpPr>
        <p:spPr>
          <a:xfrm>
            <a:off x="199050" y="3521521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Lead time to deliver: </a:t>
            </a:r>
          </a:p>
        </p:txBody>
      </p:sp>
      <p:sp>
        <p:nvSpPr>
          <p:cNvPr id="5" name="Segnaposto testo 13">
            <a:extLst>
              <a:ext uri="{FF2B5EF4-FFF2-40B4-BE49-F238E27FC236}">
                <a16:creationId xmlns:a16="http://schemas.microsoft.com/office/drawing/2014/main" id="{11983A11-2B0E-05C7-7CEA-4008B7D0754E}"/>
              </a:ext>
            </a:extLst>
          </p:cNvPr>
          <p:cNvSpPr txBox="1">
            <a:spLocks/>
          </p:cNvSpPr>
          <p:nvPr/>
        </p:nvSpPr>
        <p:spPr>
          <a:xfrm>
            <a:off x="187081" y="5918387"/>
            <a:ext cx="2161979" cy="608977"/>
          </a:xfrm>
          <a:prstGeom prst="rect">
            <a:avLst/>
          </a:prstGeom>
        </p:spPr>
        <p:txBody>
          <a:bodyPr wrap="square" lIns="91440" tIns="45720" rIns="91440" bIns="45720" anchor="t"/>
          <a:lstStyle>
            <a:lvl1pPr marL="99450" marR="0" indent="-99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Char char="§"/>
              <a:tabLst/>
              <a:defRPr sz="1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9060" indent="-99060">
              <a:buClr>
                <a:srgbClr val="E74B00"/>
              </a:buClr>
            </a:pPr>
            <a:r>
              <a:rPr lang="it-IT" sz="1200" dirty="0"/>
              <a:t>Easy feed  #2003</a:t>
            </a:r>
          </a:p>
          <a:p>
            <a:pPr marL="99060" indent="-99060">
              <a:buClr>
                <a:srgbClr val="E74B00"/>
              </a:buClr>
            </a:pPr>
            <a:r>
              <a:rPr lang="it-IT" sz="1200" dirty="0"/>
              <a:t>Bearing Spindle Ch. #2004</a:t>
            </a:r>
          </a:p>
          <a:p>
            <a:pPr marL="99060" indent="-99060">
              <a:buClr>
                <a:srgbClr val="E74B00"/>
              </a:buClr>
            </a:pPr>
            <a:r>
              <a:rPr lang="it-IT" sz="1200" dirty="0"/>
              <a:t>Encoder Relocation #2061</a:t>
            </a:r>
          </a:p>
          <a:p>
            <a:pPr marL="99060" indent="-99060">
              <a:buClr>
                <a:srgbClr val="E74B00"/>
              </a:buClr>
            </a:pPr>
            <a:r>
              <a:rPr lang="it-IT" sz="1200" dirty="0"/>
              <a:t>Intelliadjust </a:t>
            </a:r>
            <a:r>
              <a:rPr lang="it-IT" sz="1200" dirty="0">
                <a:ea typeface="Calibri"/>
                <a:cs typeface="Calibri"/>
              </a:rPr>
              <a:t>#2081</a:t>
            </a:r>
          </a:p>
        </p:txBody>
      </p:sp>
      <p:sp>
        <p:nvSpPr>
          <p:cNvPr id="7" name="TextBox 9">
            <a:extLst>
              <a:ext uri="{FF2B5EF4-FFF2-40B4-BE49-F238E27FC236}">
                <a16:creationId xmlns:a16="http://schemas.microsoft.com/office/drawing/2014/main" id="{E99B0361-37D6-947D-85C2-CD0C2C2D60DD}"/>
              </a:ext>
            </a:extLst>
          </p:cNvPr>
          <p:cNvSpPr txBox="1"/>
          <p:nvPr/>
        </p:nvSpPr>
        <p:spPr>
          <a:xfrm>
            <a:off x="187081" y="5729755"/>
            <a:ext cx="1974457" cy="170849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Can be bundle with:</a:t>
            </a:r>
            <a:endParaRPr lang="fr-FR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0588ACAB-BA08-6D93-4ABA-029752FAC1AB}"/>
              </a:ext>
            </a:extLst>
          </p:cNvPr>
          <p:cNvSpPr txBox="1">
            <a:spLocks/>
          </p:cNvSpPr>
          <p:nvPr/>
        </p:nvSpPr>
        <p:spPr>
          <a:xfrm>
            <a:off x="2624443" y="343464"/>
            <a:ext cx="9141153" cy="45300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fr-FR" altLang="fr-FR" sz="2600" b="1" err="1">
                <a:solidFill>
                  <a:srgbClr val="E74B00"/>
                </a:solidFill>
                <a:cs typeface="Arial"/>
              </a:rPr>
              <a:t>INCREASE</a:t>
            </a:r>
            <a:r>
              <a:rPr lang="fr-FR" altLang="fr-FR" sz="2600" b="1" dirty="0">
                <a:solidFill>
                  <a:srgbClr val="E74B00"/>
                </a:solidFill>
                <a:cs typeface="Arial"/>
              </a:rPr>
              <a:t> </a:t>
            </a:r>
            <a:r>
              <a:rPr lang="fr-FR" altLang="fr-FR" sz="2600" b="1" err="1">
                <a:solidFill>
                  <a:srgbClr val="E74B00"/>
                </a:solidFill>
                <a:cs typeface="Arial"/>
              </a:rPr>
              <a:t>YOUR</a:t>
            </a:r>
            <a:r>
              <a:rPr lang="fr-FR" altLang="fr-FR" sz="2600" b="1" dirty="0">
                <a:solidFill>
                  <a:srgbClr val="E74B00"/>
                </a:solidFill>
                <a:cs typeface="Arial"/>
              </a:rPr>
              <a:t> BLOWER </a:t>
            </a:r>
            <a:r>
              <a:rPr lang="fr-FR" altLang="fr-FR" sz="2600" b="1" err="1">
                <a:solidFill>
                  <a:srgbClr val="E74B00"/>
                </a:solidFill>
                <a:cs typeface="Arial"/>
              </a:rPr>
              <a:t>PRODUCTIVITY</a:t>
            </a:r>
            <a:r>
              <a:rPr lang="fr-FR" altLang="fr-FR" sz="2600" b="1" dirty="0">
                <a:solidFill>
                  <a:srgbClr val="E74B00"/>
                </a:solidFill>
                <a:cs typeface="Arial"/>
              </a:rPr>
              <a:t> UP TO 16% </a:t>
            </a:r>
            <a:endParaRPr lang="en-GB" sz="2600" b="1" dirty="0">
              <a:solidFill>
                <a:srgbClr val="E74B00"/>
              </a:solidFill>
              <a:cs typeface="Arial"/>
            </a:endParaRPr>
          </a:p>
        </p:txBody>
      </p:sp>
      <p:sp>
        <p:nvSpPr>
          <p:cNvPr id="9" name="Rettangolo arrotondato 79">
            <a:extLst>
              <a:ext uri="{FF2B5EF4-FFF2-40B4-BE49-F238E27FC236}">
                <a16:creationId xmlns:a16="http://schemas.microsoft.com/office/drawing/2014/main" id="{90E23F40-4164-205E-18AB-A4C07D391CF4}"/>
              </a:ext>
            </a:extLst>
          </p:cNvPr>
          <p:cNvSpPr/>
          <p:nvPr/>
        </p:nvSpPr>
        <p:spPr>
          <a:xfrm>
            <a:off x="9489109" y="864714"/>
            <a:ext cx="2380629" cy="396000"/>
          </a:xfrm>
          <a:prstGeom prst="roundRect">
            <a:avLst>
              <a:gd name="adj" fmla="val 50000"/>
            </a:avLst>
          </a:prstGeom>
          <a:solidFill>
            <a:srgbClr val="E7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>
              <a:ln>
                <a:noFill/>
              </a:ln>
            </a:endParaRPr>
          </a:p>
        </p:txBody>
      </p:sp>
      <p:sp>
        <p:nvSpPr>
          <p:cNvPr id="10" name="Segnaposto testo 71">
            <a:extLst>
              <a:ext uri="{FF2B5EF4-FFF2-40B4-BE49-F238E27FC236}">
                <a16:creationId xmlns:a16="http://schemas.microsoft.com/office/drawing/2014/main" id="{8362BC39-912D-84C3-2116-CCE16698CAC1}"/>
              </a:ext>
            </a:extLst>
          </p:cNvPr>
          <p:cNvSpPr txBox="1">
            <a:spLocks/>
          </p:cNvSpPr>
          <p:nvPr/>
        </p:nvSpPr>
        <p:spPr>
          <a:xfrm>
            <a:off x="9657298" y="864837"/>
            <a:ext cx="2034723" cy="395288"/>
          </a:xfrm>
          <a:prstGeom prst="rect">
            <a:avLst/>
          </a:prstGeom>
        </p:spPr>
        <p:txBody>
          <a:bodyPr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800" dirty="0"/>
              <a:t>Efficiency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F2BBD695-EB53-1FEB-C092-BE722E22845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384696" y="4747535"/>
            <a:ext cx="1711763" cy="1129649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75955E32-AB03-D10D-6E4F-020247D77D1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844328" y="1813984"/>
            <a:ext cx="2007349" cy="1969235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3DB7AF00-163A-F701-6F16-C817DD6496C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894714" y="3836212"/>
            <a:ext cx="1201745" cy="826888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ED4F1989-7F35-6C54-B07C-572AC16634B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739510" y="3856175"/>
            <a:ext cx="1108493" cy="824925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EF56E23B-56B7-1D23-767D-C0CDBA8FF63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352566" y="4943903"/>
            <a:ext cx="3222638" cy="1501954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B058EDB0-515E-0399-3A2F-8E63E3FA35A4}"/>
              </a:ext>
            </a:extLst>
          </p:cNvPr>
          <p:cNvSpPr/>
          <p:nvPr/>
        </p:nvSpPr>
        <p:spPr>
          <a:xfrm>
            <a:off x="3026117" y="4934532"/>
            <a:ext cx="582211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1">
                    <a:lumMod val="50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2250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31A9552-B2BE-7C99-1AEF-C8BB8C77FEF0}"/>
              </a:ext>
            </a:extLst>
          </p:cNvPr>
          <p:cNvSpPr/>
          <p:nvPr/>
        </p:nvSpPr>
        <p:spPr>
          <a:xfrm>
            <a:off x="3656108" y="4759237"/>
            <a:ext cx="639919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600" b="1" i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2400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8DD00C5-68E0-87C8-F66C-C1FAE2C343DD}"/>
              </a:ext>
            </a:extLst>
          </p:cNvPr>
          <p:cNvSpPr/>
          <p:nvPr/>
        </p:nvSpPr>
        <p:spPr>
          <a:xfrm>
            <a:off x="4494917" y="4749067"/>
            <a:ext cx="639919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600" b="1" i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2500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3E757B3-8FF7-3ACC-E587-1C7ACC514630}"/>
              </a:ext>
            </a:extLst>
          </p:cNvPr>
          <p:cNvSpPr/>
          <p:nvPr/>
        </p:nvSpPr>
        <p:spPr>
          <a:xfrm>
            <a:off x="5134837" y="5053488"/>
            <a:ext cx="697627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b="1" i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2600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E0B7FEE-042E-7353-63E1-CAFFF77D98EF}"/>
              </a:ext>
            </a:extLst>
          </p:cNvPr>
          <p:cNvSpPr/>
          <p:nvPr/>
        </p:nvSpPr>
        <p:spPr>
          <a:xfrm>
            <a:off x="5462346" y="5685484"/>
            <a:ext cx="755336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2000" b="1" i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2700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6F6424E-B722-45F0-4C9F-270F07169B78}"/>
              </a:ext>
            </a:extLst>
          </p:cNvPr>
          <p:cNvSpPr/>
          <p:nvPr/>
        </p:nvSpPr>
        <p:spPr>
          <a:xfrm>
            <a:off x="2459175" y="5251680"/>
            <a:ext cx="556563" cy="292388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3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2200</a:t>
            </a: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C7499B68-2785-1B86-220A-8D0954DD3590}"/>
              </a:ext>
            </a:extLst>
          </p:cNvPr>
          <p:cNvSpPr/>
          <p:nvPr/>
        </p:nvSpPr>
        <p:spPr>
          <a:xfrm>
            <a:off x="6977470" y="5206584"/>
            <a:ext cx="720160" cy="121558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E7806934-9723-F029-9AF6-B8C432837EEE}"/>
              </a:ext>
            </a:extLst>
          </p:cNvPr>
          <p:cNvSpPr/>
          <p:nvPr/>
        </p:nvSpPr>
        <p:spPr>
          <a:xfrm>
            <a:off x="8226810" y="5205399"/>
            <a:ext cx="720160" cy="121558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/>
          </a:p>
        </p:txBody>
      </p:sp>
    </p:spTree>
    <p:extLst>
      <p:ext uri="{BB962C8B-B14F-4D97-AF65-F5344CB8AC3E}">
        <p14:creationId xmlns:p14="http://schemas.microsoft.com/office/powerpoint/2010/main" val="41937910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New Sidel Template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idelTemplate23New-long" id="{16F27F92-AA9D-7B43-BA82-8138A208B1E4}" vid="{FBFFC02A-1B95-D14A-AB1E-00348F7AA1F7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87c254b-2107-4f11-bbf4-c30bafcb0414" xsi:nil="true"/>
    <lcf76f155ced4ddcb4097134ff3c332f xmlns="7d5dec9a-9e8b-443d-b3d9-4436fe769d7c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9E68AB9D4A8064AA436EDC9C00D82B4" ma:contentTypeVersion="16" ma:contentTypeDescription="Creare un nuovo documento." ma:contentTypeScope="" ma:versionID="762def5ada04c11ca7b6fb4dc627e7a0">
  <xsd:schema xmlns:xsd="http://www.w3.org/2001/XMLSchema" xmlns:xs="http://www.w3.org/2001/XMLSchema" xmlns:p="http://schemas.microsoft.com/office/2006/metadata/properties" xmlns:ns2="7d5dec9a-9e8b-443d-b3d9-4436fe769d7c" xmlns:ns3="287c254b-2107-4f11-bbf4-c30bafcb0414" targetNamespace="http://schemas.microsoft.com/office/2006/metadata/properties" ma:root="true" ma:fieldsID="bf40c7fc248bbe7ab585e1713b9809f3" ns2:_="" ns3:_="">
    <xsd:import namespace="7d5dec9a-9e8b-443d-b3d9-4436fe769d7c"/>
    <xsd:import namespace="287c254b-2107-4f11-bbf4-c30bafcb041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5dec9a-9e8b-443d-b3d9-4436fe769d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Tag immagine" ma:readOnly="false" ma:fieldId="{5cf76f15-5ced-4ddc-b409-7134ff3c332f}" ma:taxonomyMulti="true" ma:sspId="852679c2-c04b-4011-ba15-776f13b0ba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7c254b-2107-4f11-bbf4-c30bafcb041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ndivis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Condiviso con dettagli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fe2d8bf8-3f35-4aba-9ea5-a5010605ad82}" ma:internalName="TaxCatchAll" ma:showField="CatchAllData" ma:web="287c254b-2107-4f11-bbf4-c30bafcb041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FF7782F-EDA0-45CB-AC65-985AB440DE9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10E58BE-55CF-41C7-BBA4-7EE949938ABD}">
  <ds:schemaRefs>
    <ds:schemaRef ds:uri="7d5dec9a-9e8b-443d-b3d9-4436fe769d7c"/>
    <ds:schemaRef ds:uri="http://www.w3.org/XML/1998/namespace"/>
    <ds:schemaRef ds:uri="http://purl.org/dc/dcmitype/"/>
    <ds:schemaRef ds:uri="http://schemas.microsoft.com/office/2006/documentManagement/types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287c254b-2107-4f11-bbf4-c30bafcb0414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0C8F4A87-06D6-4AE7-B92F-AA63F9F9F0B4}"/>
</file>

<file path=docProps/app.xml><?xml version="1.0" encoding="utf-8"?>
<Properties xmlns="http://schemas.openxmlformats.org/officeDocument/2006/extended-properties" xmlns:vt="http://schemas.openxmlformats.org/officeDocument/2006/docPropsVTypes">
  <Template>Sidel Template long</Template>
  <TotalTime>4460</TotalTime>
  <Words>257</Words>
  <Application>Microsoft Office PowerPoint</Application>
  <PresentationFormat>Grand écran</PresentationFormat>
  <Paragraphs>57</Paragraphs>
  <Slides>1</Slides>
  <Notes>0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2" baseType="lpstr">
      <vt:lpstr>New Sidel Template</vt:lpstr>
      <vt:lpstr>Présentation PowerPoin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DUCT MANAGEMENT SERVICES BLOWING</dc:title>
  <dc:creator>Le Meteil, Guillaume</dc:creator>
  <cp:lastModifiedBy>Faure, Didier</cp:lastModifiedBy>
  <cp:revision>102</cp:revision>
  <dcterms:created xsi:type="dcterms:W3CDTF">2024-01-15T16:40:48Z</dcterms:created>
  <dcterms:modified xsi:type="dcterms:W3CDTF">2025-03-31T07:54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8-27T10:17:47Z</vt:lpwstr>
  </property>
  <property fmtid="{D5CDD505-2E9C-101B-9397-08002B2CF9AE}" pid="6" name="MSIP_Label_94480757-a570-4f64-84e7-c5b3ffe9d573_Method">
    <vt:lpwstr>Privilege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>92cf1a8d-d67b-4290-8333-f499519532ce</vt:lpwstr>
  </property>
  <property fmtid="{D5CDD505-2E9C-101B-9397-08002B2CF9AE}" pid="10" name="MSIP_Label_94480757-a570-4f64-84e7-c5b3ffe9d573_ContentBits">
    <vt:lpwstr>2</vt:lpwstr>
  </property>
  <property fmtid="{D5CDD505-2E9C-101B-9397-08002B2CF9AE}" pid="11" name="ContentTypeId">
    <vt:lpwstr>0x010100A9E68AB9D4A8064AA436EDC9C00D82B4</vt:lpwstr>
  </property>
  <property fmtid="{D5CDD505-2E9C-101B-9397-08002B2CF9AE}" pid="12" name="MediaServiceImageTags">
    <vt:lpwstr/>
  </property>
</Properties>
</file>